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00" r:id="rId3"/>
    <p:sldMasterId id="2147483756" r:id="rId4"/>
  </p:sldMasterIdLst>
  <p:sldIdLst>
    <p:sldId id="1163" r:id="rId5"/>
    <p:sldId id="303" r:id="rId6"/>
    <p:sldId id="1145" r:id="rId7"/>
    <p:sldId id="384" r:id="rId8"/>
    <p:sldId id="1146" r:id="rId9"/>
    <p:sldId id="1147" r:id="rId10"/>
    <p:sldId id="377" r:id="rId11"/>
    <p:sldId id="379" r:id="rId12"/>
    <p:sldId id="432" r:id="rId13"/>
    <p:sldId id="375" r:id="rId14"/>
    <p:sldId id="1164" r:id="rId15"/>
    <p:sldId id="1149" r:id="rId16"/>
    <p:sldId id="1165" r:id="rId17"/>
    <p:sldId id="1151" r:id="rId18"/>
    <p:sldId id="1152" r:id="rId19"/>
    <p:sldId id="383" r:id="rId20"/>
    <p:sldId id="1153" r:id="rId21"/>
    <p:sldId id="371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GJ+laQm7EcPhExbh6ojTXQ==" hashData="1L6pLehufAHk82hb3aCZZGMklqp2RwcM7CJbvt1IkPh3LMk51xx3LdJzYX3H2Lpv2U9qL5K7ZHHOUzJUgCH3OQ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6327"/>
  </p:normalViewPr>
  <p:slideViewPr>
    <p:cSldViewPr snapToGrid="0">
      <p:cViewPr varScale="1">
        <p:scale>
          <a:sx n="128" d="100"/>
          <a:sy n="128" d="100"/>
        </p:scale>
        <p:origin x="52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8D133-01FD-8380-D6E5-851BFF2DA9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A8C2C3-D50F-6626-0562-49907927E2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1C0388-0602-988F-F959-01276311C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C6B319-EA36-8072-945D-FDAF078EF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3DD2-00E6-8430-DF73-0603368AA2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1829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54783-CB32-1CA2-2357-A589ED674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1FC097-20D3-DE46-39E2-005D57DE65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128632-7BDA-B1C8-B9A0-CDCA02B85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777177-1357-FED7-8590-DC173B102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75B3F5-CEE9-5348-3653-E99D08CFF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75904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rallelogram 5"/>
          <p:cNvSpPr/>
          <p:nvPr userDrawn="1"/>
        </p:nvSpPr>
        <p:spPr>
          <a:xfrm>
            <a:off x="7857267" y="0"/>
            <a:ext cx="6509083" cy="6858000"/>
          </a:xfrm>
          <a:prstGeom prst="parallelogram">
            <a:avLst>
              <a:gd name="adj" fmla="val 37259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125890" y="-24864"/>
            <a:ext cx="6509083" cy="6882864"/>
          </a:xfrm>
          <a:prstGeom prst="parallelogram">
            <a:avLst>
              <a:gd name="adj" fmla="val 370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6412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8577944" y="4455886"/>
            <a:ext cx="1404257" cy="13525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arallelogram 9"/>
          <p:cNvSpPr/>
          <p:nvPr userDrawn="1"/>
        </p:nvSpPr>
        <p:spPr>
          <a:xfrm>
            <a:off x="-2222448" y="0"/>
            <a:ext cx="6509083" cy="6858000"/>
          </a:xfrm>
          <a:prstGeom prst="parallelogram">
            <a:avLst>
              <a:gd name="adj" fmla="val 37259"/>
            </a:avLst>
          </a:prstGeom>
          <a:solidFill>
            <a:schemeClr val="accent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2396967" y="-24864"/>
            <a:ext cx="6509083" cy="6882864"/>
          </a:xfrm>
          <a:prstGeom prst="parallelogram">
            <a:avLst>
              <a:gd name="adj" fmla="val 3701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8577944" y="1524001"/>
            <a:ext cx="1404257" cy="13525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8577944" y="2989943"/>
            <a:ext cx="1404257" cy="13525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8026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3940345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313" y="1743075"/>
            <a:ext cx="6386512" cy="42116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67108" y="2514715"/>
            <a:ext cx="5552062" cy="154569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28432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pic>
        <p:nvPicPr>
          <p:cNvPr id="5" name="Picture 4" descr="iphone-mockup-white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096000" y="416560"/>
            <a:ext cx="6096000" cy="6441440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962138" y="1085850"/>
            <a:ext cx="2543812" cy="2781300"/>
          </a:xfrm>
          <a:custGeom>
            <a:avLst/>
            <a:gdLst>
              <a:gd name="connsiteX0" fmla="*/ 0 w 2200912"/>
              <a:gd name="connsiteY0" fmla="*/ 0 h 2159000"/>
              <a:gd name="connsiteX1" fmla="*/ 2200912 w 2200912"/>
              <a:gd name="connsiteY1" fmla="*/ 0 h 2159000"/>
              <a:gd name="connsiteX2" fmla="*/ 2200912 w 2200912"/>
              <a:gd name="connsiteY2" fmla="*/ 2159000 h 2159000"/>
              <a:gd name="connsiteX3" fmla="*/ 0 w 2200912"/>
              <a:gd name="connsiteY3" fmla="*/ 2159000 h 2159000"/>
              <a:gd name="connsiteX4" fmla="*/ 0 w 2200912"/>
              <a:gd name="connsiteY4" fmla="*/ 0 h 2159000"/>
              <a:gd name="connsiteX0" fmla="*/ 0 w 2200912"/>
              <a:gd name="connsiteY0" fmla="*/ 285750 h 2444750"/>
              <a:gd name="connsiteX1" fmla="*/ 1210312 w 2200912"/>
              <a:gd name="connsiteY1" fmla="*/ 0 h 2444750"/>
              <a:gd name="connsiteX2" fmla="*/ 2200912 w 2200912"/>
              <a:gd name="connsiteY2" fmla="*/ 2444750 h 2444750"/>
              <a:gd name="connsiteX3" fmla="*/ 0 w 2200912"/>
              <a:gd name="connsiteY3" fmla="*/ 2444750 h 2444750"/>
              <a:gd name="connsiteX4" fmla="*/ 0 w 2200912"/>
              <a:gd name="connsiteY4" fmla="*/ 285750 h 2444750"/>
              <a:gd name="connsiteX0" fmla="*/ 0 w 2524762"/>
              <a:gd name="connsiteY0" fmla="*/ 285750 h 2444750"/>
              <a:gd name="connsiteX1" fmla="*/ 1210312 w 2524762"/>
              <a:gd name="connsiteY1" fmla="*/ 0 h 2444750"/>
              <a:gd name="connsiteX2" fmla="*/ 2524762 w 2524762"/>
              <a:gd name="connsiteY2" fmla="*/ 2406650 h 2444750"/>
              <a:gd name="connsiteX3" fmla="*/ 0 w 2524762"/>
              <a:gd name="connsiteY3" fmla="*/ 2444750 h 2444750"/>
              <a:gd name="connsiteX4" fmla="*/ 0 w 2524762"/>
              <a:gd name="connsiteY4" fmla="*/ 285750 h 2444750"/>
              <a:gd name="connsiteX0" fmla="*/ 0 w 2524762"/>
              <a:gd name="connsiteY0" fmla="*/ 285750 h 2781300"/>
              <a:gd name="connsiteX1" fmla="*/ 1210312 w 2524762"/>
              <a:gd name="connsiteY1" fmla="*/ 0 h 2781300"/>
              <a:gd name="connsiteX2" fmla="*/ 2524762 w 2524762"/>
              <a:gd name="connsiteY2" fmla="*/ 2406650 h 2781300"/>
              <a:gd name="connsiteX3" fmla="*/ 1352550 w 2524762"/>
              <a:gd name="connsiteY3" fmla="*/ 2781300 h 2781300"/>
              <a:gd name="connsiteX4" fmla="*/ 0 w 2524762"/>
              <a:gd name="connsiteY4" fmla="*/ 285750 h 2781300"/>
              <a:gd name="connsiteX0" fmla="*/ 0 w 2543812"/>
              <a:gd name="connsiteY0" fmla="*/ 266700 h 2781300"/>
              <a:gd name="connsiteX1" fmla="*/ 1229362 w 2543812"/>
              <a:gd name="connsiteY1" fmla="*/ 0 h 2781300"/>
              <a:gd name="connsiteX2" fmla="*/ 2543812 w 2543812"/>
              <a:gd name="connsiteY2" fmla="*/ 2406650 h 2781300"/>
              <a:gd name="connsiteX3" fmla="*/ 1371600 w 2543812"/>
              <a:gd name="connsiteY3" fmla="*/ 2781300 h 2781300"/>
              <a:gd name="connsiteX4" fmla="*/ 0 w 2543812"/>
              <a:gd name="connsiteY4" fmla="*/ 266700 h 278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3812" h="2781300">
                <a:moveTo>
                  <a:pt x="0" y="266700"/>
                </a:moveTo>
                <a:lnTo>
                  <a:pt x="1229362" y="0"/>
                </a:lnTo>
                <a:lnTo>
                  <a:pt x="2543812" y="2406650"/>
                </a:lnTo>
                <a:lnTo>
                  <a:pt x="1371600" y="2781300"/>
                </a:lnTo>
                <a:lnTo>
                  <a:pt x="0" y="2667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18598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560311-6AA3-4B6A-AAF1-8652ADA4999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3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86DDE-6F72-4E55-8E41-49059301AD0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420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009895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53655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8875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996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03F975-891D-2513-14C8-5F367FDE56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9542C0-E5F4-B0BB-E1E4-BE945E86CB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A6E290-0C3E-A4A3-E023-853C03F3D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F0E015-EE8B-103A-06CF-DD17CA27E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0F40B2-19CE-C055-2C91-A1182E401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2488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835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4420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6783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45440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7522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797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50038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403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4" name="AutoShape 7"/>
          <p:cNvSpPr>
            <a:spLocks/>
          </p:cNvSpPr>
          <p:nvPr userDrawn="1"/>
        </p:nvSpPr>
        <p:spPr bwMode="auto">
          <a:xfrm>
            <a:off x="11366500" y="368300"/>
            <a:ext cx="387350" cy="387350"/>
          </a:xfrm>
          <a:prstGeom prst="roundRect">
            <a:avLst>
              <a:gd name="adj" fmla="val 19662"/>
            </a:avLst>
          </a:prstGeom>
          <a:solidFill>
            <a:schemeClr val="accent2"/>
          </a:solidFill>
          <a:ln w="25400" cap="flat">
            <a:solidFill>
              <a:schemeClr val="tx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04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45720" tIns="22860" rIns="45720" bIns="228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Heiti SC Light" charset="0"/>
              <a:cs typeface="Heiti SC Light" charset="0"/>
              <a:sym typeface="Gill Sa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9268" y="0"/>
            <a:ext cx="12201268" cy="6858000"/>
          </a:xfrm>
          <a:prstGeom prst="rect">
            <a:avLst/>
          </a:prstGeom>
          <a:solidFill>
            <a:srgbClr val="E8E8EA"/>
          </a:solidFill>
          <a:ln>
            <a:noFill/>
          </a:ln>
        </p:spPr>
        <p:txBody>
          <a:bodyPr anchor="t"/>
          <a:lstStyle>
            <a:lvl1pPr>
              <a:defRPr sz="1400" baseline="0">
                <a:solidFill>
                  <a:srgbClr val="7A7A7A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302365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146050" y="2127250"/>
            <a:ext cx="6705600" cy="36512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49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5638800" y="1593850"/>
            <a:ext cx="6649888" cy="42354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6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57150" y="1593850"/>
            <a:ext cx="12345838" cy="250190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5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032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/>
          <p:cNvSpPr>
            <a:spLocks noGrp="1"/>
          </p:cNvSpPr>
          <p:nvPr>
            <p:ph type="pic" sz="quarter" idx="10" hasCustomPrompt="1"/>
          </p:nvPr>
        </p:nvSpPr>
        <p:spPr>
          <a:xfrm>
            <a:off x="1092149" y="1873250"/>
            <a:ext cx="1815410" cy="2095500"/>
          </a:xfrm>
          <a:custGeom>
            <a:avLst/>
            <a:gdLst>
              <a:gd name="connsiteX0" fmla="*/ 1815410 w 3630819"/>
              <a:gd name="connsiteY0" fmla="*/ 0 h 4191000"/>
              <a:gd name="connsiteX1" fmla="*/ 3630819 w 3630819"/>
              <a:gd name="connsiteY1" fmla="*/ 1047750 h 4191000"/>
              <a:gd name="connsiteX2" fmla="*/ 3630819 w 3630819"/>
              <a:gd name="connsiteY2" fmla="*/ 3143250 h 4191000"/>
              <a:gd name="connsiteX3" fmla="*/ 1815410 w 3630819"/>
              <a:gd name="connsiteY3" fmla="*/ 4191000 h 4191000"/>
              <a:gd name="connsiteX4" fmla="*/ 0 w 3630819"/>
              <a:gd name="connsiteY4" fmla="*/ 3143250 h 4191000"/>
              <a:gd name="connsiteX5" fmla="*/ 0 w 3630819"/>
              <a:gd name="connsiteY5" fmla="*/ 104775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0819" h="4191000">
                <a:moveTo>
                  <a:pt x="1815410" y="0"/>
                </a:moveTo>
                <a:lnTo>
                  <a:pt x="3630819" y="1047750"/>
                </a:lnTo>
                <a:lnTo>
                  <a:pt x="3630819" y="3143250"/>
                </a:lnTo>
                <a:lnTo>
                  <a:pt x="1815410" y="4191000"/>
                </a:lnTo>
                <a:lnTo>
                  <a:pt x="0" y="3143250"/>
                </a:lnTo>
                <a:lnTo>
                  <a:pt x="0" y="1047750"/>
                </a:ln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14" hasCustomPrompt="1"/>
          </p:nvPr>
        </p:nvSpPr>
        <p:spPr>
          <a:xfrm>
            <a:off x="3778595" y="1873250"/>
            <a:ext cx="1815410" cy="2095500"/>
          </a:xfrm>
          <a:custGeom>
            <a:avLst/>
            <a:gdLst>
              <a:gd name="connsiteX0" fmla="*/ 1815410 w 3630819"/>
              <a:gd name="connsiteY0" fmla="*/ 0 h 4191000"/>
              <a:gd name="connsiteX1" fmla="*/ 3630819 w 3630819"/>
              <a:gd name="connsiteY1" fmla="*/ 1047750 h 4191000"/>
              <a:gd name="connsiteX2" fmla="*/ 3630819 w 3630819"/>
              <a:gd name="connsiteY2" fmla="*/ 3143250 h 4191000"/>
              <a:gd name="connsiteX3" fmla="*/ 1815410 w 3630819"/>
              <a:gd name="connsiteY3" fmla="*/ 4191000 h 4191000"/>
              <a:gd name="connsiteX4" fmla="*/ 0 w 3630819"/>
              <a:gd name="connsiteY4" fmla="*/ 3143250 h 4191000"/>
              <a:gd name="connsiteX5" fmla="*/ 0 w 3630819"/>
              <a:gd name="connsiteY5" fmla="*/ 104775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0819" h="4191000">
                <a:moveTo>
                  <a:pt x="1815410" y="0"/>
                </a:moveTo>
                <a:lnTo>
                  <a:pt x="3630819" y="1047750"/>
                </a:lnTo>
                <a:lnTo>
                  <a:pt x="3630819" y="3143250"/>
                </a:lnTo>
                <a:lnTo>
                  <a:pt x="1815410" y="4191000"/>
                </a:lnTo>
                <a:lnTo>
                  <a:pt x="0" y="3143250"/>
                </a:lnTo>
                <a:lnTo>
                  <a:pt x="0" y="1047750"/>
                </a:ln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15" hasCustomPrompt="1"/>
          </p:nvPr>
        </p:nvSpPr>
        <p:spPr>
          <a:xfrm>
            <a:off x="6483815" y="1873250"/>
            <a:ext cx="1815410" cy="2095500"/>
          </a:xfrm>
          <a:custGeom>
            <a:avLst/>
            <a:gdLst>
              <a:gd name="connsiteX0" fmla="*/ 1815410 w 3630819"/>
              <a:gd name="connsiteY0" fmla="*/ 0 h 4191000"/>
              <a:gd name="connsiteX1" fmla="*/ 3630819 w 3630819"/>
              <a:gd name="connsiteY1" fmla="*/ 1047750 h 4191000"/>
              <a:gd name="connsiteX2" fmla="*/ 3630819 w 3630819"/>
              <a:gd name="connsiteY2" fmla="*/ 3143250 h 4191000"/>
              <a:gd name="connsiteX3" fmla="*/ 1815410 w 3630819"/>
              <a:gd name="connsiteY3" fmla="*/ 4191000 h 4191000"/>
              <a:gd name="connsiteX4" fmla="*/ 0 w 3630819"/>
              <a:gd name="connsiteY4" fmla="*/ 3143250 h 4191000"/>
              <a:gd name="connsiteX5" fmla="*/ 0 w 3630819"/>
              <a:gd name="connsiteY5" fmla="*/ 104775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0819" h="4191000">
                <a:moveTo>
                  <a:pt x="1815410" y="0"/>
                </a:moveTo>
                <a:lnTo>
                  <a:pt x="3630819" y="1047750"/>
                </a:lnTo>
                <a:lnTo>
                  <a:pt x="3630819" y="3143250"/>
                </a:lnTo>
                <a:lnTo>
                  <a:pt x="1815410" y="4191000"/>
                </a:lnTo>
                <a:lnTo>
                  <a:pt x="0" y="3143250"/>
                </a:lnTo>
                <a:lnTo>
                  <a:pt x="0" y="1047750"/>
                </a:ln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16" hasCustomPrompt="1"/>
          </p:nvPr>
        </p:nvSpPr>
        <p:spPr>
          <a:xfrm>
            <a:off x="9162036" y="1873250"/>
            <a:ext cx="1815410" cy="2095500"/>
          </a:xfrm>
          <a:custGeom>
            <a:avLst/>
            <a:gdLst>
              <a:gd name="connsiteX0" fmla="*/ 1815410 w 3630819"/>
              <a:gd name="connsiteY0" fmla="*/ 0 h 4191000"/>
              <a:gd name="connsiteX1" fmla="*/ 3630819 w 3630819"/>
              <a:gd name="connsiteY1" fmla="*/ 1047750 h 4191000"/>
              <a:gd name="connsiteX2" fmla="*/ 3630819 w 3630819"/>
              <a:gd name="connsiteY2" fmla="*/ 3143250 h 4191000"/>
              <a:gd name="connsiteX3" fmla="*/ 1815410 w 3630819"/>
              <a:gd name="connsiteY3" fmla="*/ 4191000 h 4191000"/>
              <a:gd name="connsiteX4" fmla="*/ 0 w 3630819"/>
              <a:gd name="connsiteY4" fmla="*/ 3143250 h 4191000"/>
              <a:gd name="connsiteX5" fmla="*/ 0 w 3630819"/>
              <a:gd name="connsiteY5" fmla="*/ 104775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0819" h="4191000">
                <a:moveTo>
                  <a:pt x="1815410" y="0"/>
                </a:moveTo>
                <a:lnTo>
                  <a:pt x="3630819" y="1047750"/>
                </a:lnTo>
                <a:lnTo>
                  <a:pt x="3630819" y="3143250"/>
                </a:lnTo>
                <a:lnTo>
                  <a:pt x="1815410" y="4191000"/>
                </a:lnTo>
                <a:lnTo>
                  <a:pt x="0" y="3143250"/>
                </a:lnTo>
                <a:lnTo>
                  <a:pt x="0" y="1047750"/>
                </a:ln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7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4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4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603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/>
          <p:cNvSpPr>
            <a:spLocks noGrp="1"/>
          </p:cNvSpPr>
          <p:nvPr>
            <p:ph type="pic" sz="quarter" idx="10" hasCustomPrompt="1"/>
          </p:nvPr>
        </p:nvSpPr>
        <p:spPr>
          <a:xfrm>
            <a:off x="1092149" y="2155032"/>
            <a:ext cx="1815410" cy="2095500"/>
          </a:xfrm>
          <a:custGeom>
            <a:avLst/>
            <a:gdLst>
              <a:gd name="connsiteX0" fmla="*/ 1815410 w 3630819"/>
              <a:gd name="connsiteY0" fmla="*/ 0 h 4191000"/>
              <a:gd name="connsiteX1" fmla="*/ 3630819 w 3630819"/>
              <a:gd name="connsiteY1" fmla="*/ 1047750 h 4191000"/>
              <a:gd name="connsiteX2" fmla="*/ 3630819 w 3630819"/>
              <a:gd name="connsiteY2" fmla="*/ 3143250 h 4191000"/>
              <a:gd name="connsiteX3" fmla="*/ 1815410 w 3630819"/>
              <a:gd name="connsiteY3" fmla="*/ 4191000 h 4191000"/>
              <a:gd name="connsiteX4" fmla="*/ 0 w 3630819"/>
              <a:gd name="connsiteY4" fmla="*/ 3143250 h 4191000"/>
              <a:gd name="connsiteX5" fmla="*/ 0 w 3630819"/>
              <a:gd name="connsiteY5" fmla="*/ 104775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0819" h="4191000">
                <a:moveTo>
                  <a:pt x="1815410" y="0"/>
                </a:moveTo>
                <a:lnTo>
                  <a:pt x="3630819" y="1047750"/>
                </a:lnTo>
                <a:lnTo>
                  <a:pt x="3630819" y="3143250"/>
                </a:lnTo>
                <a:lnTo>
                  <a:pt x="1815410" y="4191000"/>
                </a:lnTo>
                <a:lnTo>
                  <a:pt x="0" y="3143250"/>
                </a:lnTo>
                <a:lnTo>
                  <a:pt x="0" y="1047750"/>
                </a:ln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7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7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135103" y="4432300"/>
            <a:ext cx="1927185" cy="1104900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3152795" y="4432300"/>
            <a:ext cx="1927185" cy="1104900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207541" y="4432300"/>
            <a:ext cx="1927185" cy="1104900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9229467" y="4432300"/>
            <a:ext cx="1927185" cy="1104900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170488" y="4432300"/>
            <a:ext cx="1927185" cy="1104900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2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896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7B2908-6BF9-7AB1-BEC5-EC3F1874E1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1AF546-BE89-E1B2-38A7-FE9298B889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E97D10-2B88-29A8-F8A5-8C9403A0A4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1F5681-9536-D0F5-285E-63C40C86E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B6ADD2-CFAD-4EA5-F5EC-92D9677C6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407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4395043" y="3122848"/>
            <a:ext cx="1199307" cy="691121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 hasCustomPrompt="1"/>
          </p:nvPr>
        </p:nvSpPr>
        <p:spPr>
          <a:xfrm>
            <a:off x="4451350" y="2117725"/>
            <a:ext cx="1079500" cy="10795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5043" y="5132623"/>
            <a:ext cx="1199307" cy="691121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6" hasCustomPrompt="1"/>
          </p:nvPr>
        </p:nvSpPr>
        <p:spPr>
          <a:xfrm>
            <a:off x="4451350" y="4127500"/>
            <a:ext cx="1079500" cy="10795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10215834" y="3122848"/>
            <a:ext cx="1199307" cy="691121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18" hasCustomPrompt="1"/>
          </p:nvPr>
        </p:nvSpPr>
        <p:spPr>
          <a:xfrm>
            <a:off x="10272141" y="2117725"/>
            <a:ext cx="1079500" cy="10795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9" hasCustomPrompt="1"/>
          </p:nvPr>
        </p:nvSpPr>
        <p:spPr>
          <a:xfrm>
            <a:off x="10215834" y="5132623"/>
            <a:ext cx="1199307" cy="691121"/>
          </a:xfrm>
          <a:prstGeom prst="rect">
            <a:avLst/>
          </a:prstGeom>
          <a:solidFill>
            <a:srgbClr val="BCBCBC"/>
          </a:solidFill>
        </p:spPr>
        <p:txBody>
          <a:bodyPr anchor="t"/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20" hasCustomPrompt="1"/>
          </p:nvPr>
        </p:nvSpPr>
        <p:spPr>
          <a:xfrm>
            <a:off x="10272141" y="4127500"/>
            <a:ext cx="1079500" cy="10795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4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4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92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64394" y="2578100"/>
            <a:ext cx="1575594" cy="28257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2586038" y="2691720"/>
            <a:ext cx="1164431" cy="273106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496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819650" y="3118286"/>
            <a:ext cx="2573338" cy="405513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39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696994" y="2512673"/>
            <a:ext cx="1575594" cy="28257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9418638" y="2626293"/>
            <a:ext cx="1164431" cy="273106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35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273550" y="2578100"/>
            <a:ext cx="1575594" cy="28257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6425407" y="2578100"/>
            <a:ext cx="1575594" cy="28257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1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240757" y="2890044"/>
            <a:ext cx="1955800" cy="2604294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856456" y="2642394"/>
            <a:ext cx="2118519" cy="2822575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54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8648701" y="2794794"/>
            <a:ext cx="1955800" cy="2604294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7264401" y="2547144"/>
            <a:ext cx="2118519" cy="2822575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32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120532" y="2782888"/>
            <a:ext cx="1962969" cy="2604294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4279107" y="2535238"/>
            <a:ext cx="2118519" cy="2822575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63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8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4495800" y="2557462"/>
            <a:ext cx="3199607" cy="4300538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38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9"/>
          <p:cNvSpPr>
            <a:spLocks noChangeShapeType="1"/>
          </p:cNvSpPr>
          <p:nvPr userDrawn="1"/>
        </p:nvSpPr>
        <p:spPr bwMode="auto">
          <a:xfrm rot="10800000" flipH="1">
            <a:off x="-208757" y="1612107"/>
            <a:ext cx="12436476" cy="0"/>
          </a:xfrm>
          <a:prstGeom prst="line">
            <a:avLst/>
          </a:prstGeom>
          <a:noFill/>
          <a:ln w="25400" cap="flat">
            <a:solidFill>
              <a:srgbClr val="B3B3B3">
                <a:alpha val="20000"/>
              </a:srgbClr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7" name="AutoShape 1"/>
          <p:cNvSpPr>
            <a:spLocks/>
          </p:cNvSpPr>
          <p:nvPr userDrawn="1"/>
        </p:nvSpPr>
        <p:spPr bwMode="auto">
          <a:xfrm rot="3638335">
            <a:off x="826294" y="6258719"/>
            <a:ext cx="47625" cy="47625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99" y="0"/>
                </a:moveTo>
                <a:cubicBezTo>
                  <a:pt x="4843" y="0"/>
                  <a:pt x="0" y="4845"/>
                  <a:pt x="0" y="10800"/>
                </a:cubicBezTo>
                <a:cubicBezTo>
                  <a:pt x="0" y="12791"/>
                  <a:pt x="561" y="14742"/>
                  <a:pt x="1615" y="16453"/>
                </a:cubicBezTo>
                <a:cubicBezTo>
                  <a:pt x="3597" y="19674"/>
                  <a:pt x="7036" y="21600"/>
                  <a:pt x="10799" y="21600"/>
                </a:cubicBezTo>
                <a:cubicBezTo>
                  <a:pt x="14765" y="21600"/>
                  <a:pt x="18410" y="19434"/>
                  <a:pt x="20297" y="15941"/>
                </a:cubicBezTo>
                <a:cubicBezTo>
                  <a:pt x="21152" y="14373"/>
                  <a:pt x="21600" y="12599"/>
                  <a:pt x="21600" y="10800"/>
                </a:cubicBezTo>
                <a:cubicBezTo>
                  <a:pt x="21600" y="4845"/>
                  <a:pt x="16756" y="0"/>
                  <a:pt x="10799" y="0"/>
                </a:cubicBezTo>
                <a:cubicBezTo>
                  <a:pt x="10799" y="0"/>
                  <a:pt x="10799" y="0"/>
                  <a:pt x="10799" y="0"/>
                </a:cubicBezTo>
                <a:close/>
                <a:moveTo>
                  <a:pt x="10799" y="0"/>
                </a:moveTo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8" name="AutoShape 2"/>
          <p:cNvSpPr>
            <a:spLocks/>
          </p:cNvSpPr>
          <p:nvPr userDrawn="1"/>
        </p:nvSpPr>
        <p:spPr bwMode="auto">
          <a:xfrm rot="3638335">
            <a:off x="718741" y="6155134"/>
            <a:ext cx="184150" cy="297657"/>
          </a:xfrm>
          <a:custGeom>
            <a:avLst/>
            <a:gdLst/>
            <a:ahLst/>
            <a:cxnLst/>
            <a:rect l="0" t="0" r="r" b="b"/>
            <a:pathLst>
              <a:path w="21560" h="21587">
                <a:moveTo>
                  <a:pt x="15188" y="17493"/>
                </a:moveTo>
                <a:cubicBezTo>
                  <a:pt x="15118" y="17591"/>
                  <a:pt x="14962" y="17649"/>
                  <a:pt x="14799" y="17649"/>
                </a:cubicBezTo>
                <a:cubicBezTo>
                  <a:pt x="14741" y="17649"/>
                  <a:pt x="14683" y="17641"/>
                  <a:pt x="14625" y="17626"/>
                </a:cubicBezTo>
                <a:cubicBezTo>
                  <a:pt x="14410" y="17565"/>
                  <a:pt x="14315" y="17410"/>
                  <a:pt x="14413" y="17277"/>
                </a:cubicBezTo>
                <a:cubicBezTo>
                  <a:pt x="17510" y="13008"/>
                  <a:pt x="17058" y="9210"/>
                  <a:pt x="17052" y="9172"/>
                </a:cubicBezTo>
                <a:cubicBezTo>
                  <a:pt x="17033" y="9027"/>
                  <a:pt x="17208" y="8900"/>
                  <a:pt x="17443" y="8888"/>
                </a:cubicBezTo>
                <a:cubicBezTo>
                  <a:pt x="17688" y="8875"/>
                  <a:pt x="17884" y="8985"/>
                  <a:pt x="17903" y="9129"/>
                </a:cubicBezTo>
                <a:cubicBezTo>
                  <a:pt x="17923" y="9289"/>
                  <a:pt x="18377" y="13101"/>
                  <a:pt x="15188" y="17493"/>
                </a:cubicBezTo>
                <a:cubicBezTo>
                  <a:pt x="15188" y="17493"/>
                  <a:pt x="15188" y="17493"/>
                  <a:pt x="15188" y="17493"/>
                </a:cubicBezTo>
                <a:close/>
                <a:moveTo>
                  <a:pt x="14015" y="8609"/>
                </a:moveTo>
                <a:cubicBezTo>
                  <a:pt x="13375" y="9340"/>
                  <a:pt x="12141" y="9795"/>
                  <a:pt x="10795" y="9795"/>
                </a:cubicBezTo>
                <a:cubicBezTo>
                  <a:pt x="9516" y="9795"/>
                  <a:pt x="8354" y="9392"/>
                  <a:pt x="7680" y="8716"/>
                </a:cubicBezTo>
                <a:cubicBezTo>
                  <a:pt x="7322" y="8356"/>
                  <a:pt x="7133" y="7945"/>
                  <a:pt x="7133" y="7527"/>
                </a:cubicBezTo>
                <a:cubicBezTo>
                  <a:pt x="7133" y="6276"/>
                  <a:pt x="8776" y="5260"/>
                  <a:pt x="10795" y="5260"/>
                </a:cubicBezTo>
                <a:cubicBezTo>
                  <a:pt x="12815" y="5260"/>
                  <a:pt x="14458" y="6276"/>
                  <a:pt x="14458" y="7527"/>
                </a:cubicBezTo>
                <a:cubicBezTo>
                  <a:pt x="14456" y="7905"/>
                  <a:pt x="14304" y="8279"/>
                  <a:pt x="14015" y="8609"/>
                </a:cubicBezTo>
                <a:cubicBezTo>
                  <a:pt x="14015" y="8609"/>
                  <a:pt x="14015" y="8609"/>
                  <a:pt x="14015" y="8609"/>
                </a:cubicBezTo>
                <a:close/>
                <a:moveTo>
                  <a:pt x="21482" y="14719"/>
                </a:moveTo>
                <a:cubicBezTo>
                  <a:pt x="20904" y="14216"/>
                  <a:pt x="20284" y="13759"/>
                  <a:pt x="19633" y="13358"/>
                </a:cubicBezTo>
                <a:cubicBezTo>
                  <a:pt x="19943" y="12452"/>
                  <a:pt x="20099" y="11529"/>
                  <a:pt x="20099" y="10610"/>
                </a:cubicBezTo>
                <a:cubicBezTo>
                  <a:pt x="20099" y="6248"/>
                  <a:pt x="16619" y="2198"/>
                  <a:pt x="11020" y="40"/>
                </a:cubicBezTo>
                <a:cubicBezTo>
                  <a:pt x="10883" y="-13"/>
                  <a:pt x="10708" y="-13"/>
                  <a:pt x="10569" y="40"/>
                </a:cubicBezTo>
                <a:cubicBezTo>
                  <a:pt x="4968" y="2198"/>
                  <a:pt x="1490" y="6249"/>
                  <a:pt x="1490" y="10610"/>
                </a:cubicBezTo>
                <a:cubicBezTo>
                  <a:pt x="1490" y="11502"/>
                  <a:pt x="1638" y="12398"/>
                  <a:pt x="1927" y="13276"/>
                </a:cubicBezTo>
                <a:cubicBezTo>
                  <a:pt x="1278" y="13678"/>
                  <a:pt x="656" y="14134"/>
                  <a:pt x="80" y="14638"/>
                </a:cubicBezTo>
                <a:cubicBezTo>
                  <a:pt x="3" y="14704"/>
                  <a:pt x="-20" y="14789"/>
                  <a:pt x="20" y="14867"/>
                </a:cubicBezTo>
                <a:lnTo>
                  <a:pt x="3179" y="21319"/>
                </a:lnTo>
                <a:cubicBezTo>
                  <a:pt x="3223" y="21412"/>
                  <a:pt x="3347" y="21481"/>
                  <a:pt x="3501" y="21499"/>
                </a:cubicBezTo>
                <a:cubicBezTo>
                  <a:pt x="3655" y="21519"/>
                  <a:pt x="3813" y="21484"/>
                  <a:pt x="3913" y="21409"/>
                </a:cubicBezTo>
                <a:cubicBezTo>
                  <a:pt x="4810" y="20742"/>
                  <a:pt x="6055" y="20219"/>
                  <a:pt x="7466" y="19912"/>
                </a:cubicBezTo>
                <a:lnTo>
                  <a:pt x="7466" y="20313"/>
                </a:lnTo>
                <a:cubicBezTo>
                  <a:pt x="7466" y="20458"/>
                  <a:pt x="7657" y="20577"/>
                  <a:pt x="7892" y="20577"/>
                </a:cubicBezTo>
                <a:lnTo>
                  <a:pt x="13670" y="20577"/>
                </a:lnTo>
                <a:cubicBezTo>
                  <a:pt x="13905" y="20577"/>
                  <a:pt x="14094" y="20458"/>
                  <a:pt x="14094" y="20313"/>
                </a:cubicBezTo>
                <a:lnTo>
                  <a:pt x="14094" y="19994"/>
                </a:lnTo>
                <a:cubicBezTo>
                  <a:pt x="15507" y="20300"/>
                  <a:pt x="16752" y="20824"/>
                  <a:pt x="17649" y="21492"/>
                </a:cubicBezTo>
                <a:cubicBezTo>
                  <a:pt x="17730" y="21552"/>
                  <a:pt x="17851" y="21587"/>
                  <a:pt x="17975" y="21587"/>
                </a:cubicBezTo>
                <a:cubicBezTo>
                  <a:pt x="18003" y="21587"/>
                  <a:pt x="18034" y="21586"/>
                  <a:pt x="18061" y="21582"/>
                </a:cubicBezTo>
                <a:cubicBezTo>
                  <a:pt x="18213" y="21563"/>
                  <a:pt x="18337" y="21493"/>
                  <a:pt x="18383" y="21399"/>
                </a:cubicBezTo>
                <a:lnTo>
                  <a:pt x="21543" y="14947"/>
                </a:lnTo>
                <a:cubicBezTo>
                  <a:pt x="21580" y="14870"/>
                  <a:pt x="21557" y="14786"/>
                  <a:pt x="21482" y="14719"/>
                </a:cubicBezTo>
                <a:cubicBezTo>
                  <a:pt x="21482" y="14719"/>
                  <a:pt x="21482" y="14719"/>
                  <a:pt x="21482" y="14719"/>
                </a:cubicBezTo>
                <a:close/>
                <a:moveTo>
                  <a:pt x="21482" y="14719"/>
                </a:moveTo>
              </a:path>
            </a:pathLst>
          </a:custGeom>
          <a:solidFill>
            <a:srgbClr val="2D67B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9" name="AutoShape 3"/>
          <p:cNvSpPr>
            <a:spLocks/>
          </p:cNvSpPr>
          <p:nvPr userDrawn="1"/>
        </p:nvSpPr>
        <p:spPr bwMode="auto">
          <a:xfrm rot="3638335">
            <a:off x="606425" y="6316663"/>
            <a:ext cx="7144" cy="154781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770" y="0"/>
                </a:moveTo>
                <a:cubicBezTo>
                  <a:pt x="4798" y="0"/>
                  <a:pt x="0" y="966"/>
                  <a:pt x="0" y="2176"/>
                </a:cubicBezTo>
                <a:lnTo>
                  <a:pt x="0" y="19435"/>
                </a:lnTo>
                <a:cubicBezTo>
                  <a:pt x="0" y="20634"/>
                  <a:pt x="4798" y="21600"/>
                  <a:pt x="10770" y="21600"/>
                </a:cubicBezTo>
                <a:cubicBezTo>
                  <a:pt x="16789" y="21600"/>
                  <a:pt x="21600" y="20634"/>
                  <a:pt x="21600" y="19435"/>
                </a:cubicBezTo>
                <a:lnTo>
                  <a:pt x="21600" y="2176"/>
                </a:lnTo>
                <a:cubicBezTo>
                  <a:pt x="21600" y="966"/>
                  <a:pt x="16736" y="0"/>
                  <a:pt x="10770" y="0"/>
                </a:cubicBezTo>
                <a:cubicBezTo>
                  <a:pt x="10770" y="0"/>
                  <a:pt x="10770" y="0"/>
                  <a:pt x="10770" y="0"/>
                </a:cubicBezTo>
                <a:close/>
                <a:moveTo>
                  <a:pt x="10770" y="0"/>
                </a:moveTo>
              </a:path>
            </a:pathLst>
          </a:custGeom>
          <a:solidFill>
            <a:srgbClr val="2D67B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auto">
          <a:xfrm rot="3638335">
            <a:off x="574675" y="6310313"/>
            <a:ext cx="7938" cy="249238"/>
          </a:xfrm>
          <a:custGeom>
            <a:avLst/>
            <a:gdLst/>
            <a:ahLst/>
            <a:cxnLst/>
            <a:rect l="0" t="0" r="r" b="b"/>
            <a:pathLst>
              <a:path w="21548" h="21600">
                <a:moveTo>
                  <a:pt x="10803" y="0"/>
                </a:moveTo>
                <a:cubicBezTo>
                  <a:pt x="4799" y="0"/>
                  <a:pt x="0" y="599"/>
                  <a:pt x="0" y="1348"/>
                </a:cubicBezTo>
                <a:lnTo>
                  <a:pt x="0" y="20252"/>
                </a:lnTo>
                <a:cubicBezTo>
                  <a:pt x="0" y="20995"/>
                  <a:pt x="4799" y="21600"/>
                  <a:pt x="10803" y="21600"/>
                </a:cubicBezTo>
                <a:cubicBezTo>
                  <a:pt x="16755" y="21600"/>
                  <a:pt x="21547" y="20995"/>
                  <a:pt x="21547" y="20252"/>
                </a:cubicBezTo>
                <a:lnTo>
                  <a:pt x="21547" y="1348"/>
                </a:lnTo>
                <a:cubicBezTo>
                  <a:pt x="21600" y="599"/>
                  <a:pt x="16755" y="0"/>
                  <a:pt x="10803" y="0"/>
                </a:cubicBezTo>
                <a:cubicBezTo>
                  <a:pt x="10803" y="0"/>
                  <a:pt x="10803" y="0"/>
                  <a:pt x="10803" y="0"/>
                </a:cubicBezTo>
                <a:close/>
                <a:moveTo>
                  <a:pt x="10803" y="0"/>
                </a:moveTo>
              </a:path>
            </a:pathLst>
          </a:custGeom>
          <a:solidFill>
            <a:srgbClr val="2D67B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1" name="AutoShape 5"/>
          <p:cNvSpPr>
            <a:spLocks/>
          </p:cNvSpPr>
          <p:nvPr userDrawn="1"/>
        </p:nvSpPr>
        <p:spPr bwMode="auto">
          <a:xfrm rot="3638335">
            <a:off x="626269" y="6353175"/>
            <a:ext cx="7938" cy="153988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0826" y="0"/>
                </a:moveTo>
                <a:cubicBezTo>
                  <a:pt x="4806" y="0"/>
                  <a:pt x="0" y="966"/>
                  <a:pt x="0" y="2176"/>
                </a:cubicBezTo>
                <a:lnTo>
                  <a:pt x="0" y="19435"/>
                </a:lnTo>
                <a:cubicBezTo>
                  <a:pt x="0" y="20634"/>
                  <a:pt x="4806" y="21600"/>
                  <a:pt x="10826" y="21600"/>
                </a:cubicBezTo>
                <a:cubicBezTo>
                  <a:pt x="16794" y="21600"/>
                  <a:pt x="21600" y="20634"/>
                  <a:pt x="21600" y="19435"/>
                </a:cubicBezTo>
                <a:lnTo>
                  <a:pt x="21600" y="2176"/>
                </a:lnTo>
                <a:cubicBezTo>
                  <a:pt x="21600" y="966"/>
                  <a:pt x="16794" y="0"/>
                  <a:pt x="10826" y="0"/>
                </a:cubicBezTo>
                <a:cubicBezTo>
                  <a:pt x="10826" y="0"/>
                  <a:pt x="10826" y="0"/>
                  <a:pt x="10826" y="0"/>
                </a:cubicBezTo>
                <a:close/>
                <a:moveTo>
                  <a:pt x="10826" y="0"/>
                </a:moveTo>
              </a:path>
            </a:pathLst>
          </a:custGeom>
          <a:solidFill>
            <a:srgbClr val="2D67BE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12" name="Rectangle 6"/>
          <p:cNvSpPr>
            <a:spLocks/>
          </p:cNvSpPr>
          <p:nvPr userDrawn="1"/>
        </p:nvSpPr>
        <p:spPr bwMode="auto">
          <a:xfrm>
            <a:off x="939007" y="6283068"/>
            <a:ext cx="53219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>
                    <a:alpha val="50000"/>
                  </a:scheme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200">
                <a:solidFill>
                  <a:srgbClr val="1A1A1A"/>
                </a:solidFill>
                <a:latin typeface="Montserrat-Bold" charset="0"/>
                <a:ea typeface="ＭＳ Ｐゴシック" charset="0"/>
                <a:cs typeface="Montserrat-Bold" charset="0"/>
                <a:sym typeface="Montserrat-Bold" charset="0"/>
              </a:rPr>
              <a:t>SANTE</a:t>
            </a:r>
          </a:p>
        </p:txBody>
      </p:sp>
      <p:sp>
        <p:nvSpPr>
          <p:cNvPr id="14" name="Rectangle 8"/>
          <p:cNvSpPr>
            <a:spLocks/>
          </p:cNvSpPr>
          <p:nvPr userDrawn="1"/>
        </p:nvSpPr>
        <p:spPr bwMode="auto">
          <a:xfrm>
            <a:off x="9990138" y="6346568"/>
            <a:ext cx="163506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>
                    <a:alpha val="29999"/>
                  </a:scheme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20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rPr>
              <a:t>www.santecorp.com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881005" y="2660650"/>
            <a:ext cx="3494939" cy="1975644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54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228F1-C3FA-9F5C-FD13-F2A9AB3EE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8A4E99-F6C0-DE59-BDE1-5CAA6BDBA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427AFB-5483-7155-9EAA-D7DEC4FC22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92CFF1-E478-A8BC-E4A0-0F14E7F8A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671806-3661-830F-AF19-4A5E7EF0E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3195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36780" y="2400300"/>
            <a:ext cx="3662189" cy="2066925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5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324350" y="2438400"/>
            <a:ext cx="3667919" cy="2066925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26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996951" y="2159000"/>
            <a:ext cx="6220619" cy="350520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5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869951" y="2514600"/>
            <a:ext cx="3733800" cy="2355850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605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845300" y="2419350"/>
            <a:ext cx="4191000" cy="2643982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4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1995" y="1959782"/>
            <a:ext cx="3492500" cy="3933019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4348957" y="1959782"/>
            <a:ext cx="3492500" cy="3933019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80363" y="1959782"/>
            <a:ext cx="3492500" cy="3933019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5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" y="1859756"/>
            <a:ext cx="5268119" cy="41195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088063" y="1859757"/>
            <a:ext cx="2563019" cy="2012156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59032" y="1859757"/>
            <a:ext cx="2567781" cy="2012156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88063" y="3978225"/>
            <a:ext cx="2563019" cy="2012156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759032" y="3978225"/>
            <a:ext cx="2567781" cy="2012156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59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711200" y="1859757"/>
            <a:ext cx="5259388" cy="2014132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068220" y="1859756"/>
            <a:ext cx="5266531" cy="41195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11200" y="3966775"/>
            <a:ext cx="2584046" cy="2014132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404005" y="3966775"/>
            <a:ext cx="2566583" cy="2014132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115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24136" y="1861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49750" y="1861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94886" y="1861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724136" y="3968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4349750" y="3968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9" hasCustomPrompt="1"/>
          </p:nvPr>
        </p:nvSpPr>
        <p:spPr>
          <a:xfrm>
            <a:off x="7994886" y="3968750"/>
            <a:ext cx="3488296" cy="1933963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26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87400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473450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151786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8819257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87400" y="403860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19" hasCustomPrompt="1"/>
          </p:nvPr>
        </p:nvSpPr>
        <p:spPr>
          <a:xfrm>
            <a:off x="3473450" y="403860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51786" y="403860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21" hasCustomPrompt="1"/>
          </p:nvPr>
        </p:nvSpPr>
        <p:spPr>
          <a:xfrm>
            <a:off x="8819257" y="403860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3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14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D7239-1EA8-4F70-0CFA-F99018F13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CA7A3F-72D5-98EC-F35F-DAE9DAF371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6C38E-06E4-9E10-47F4-8B0C77F165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A67843-13F4-F9B1-57AD-20E4F0112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0245F-C7B2-9D49-838D-0300265A3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DDE34E-422D-E15A-BB40-320F2ED7F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5745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87400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473450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151786" y="191135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8819257" y="1911350"/>
            <a:ext cx="2579688" cy="413940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87400" y="4038600"/>
            <a:ext cx="524033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51786" y="4038600"/>
            <a:ext cx="257968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6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87400" y="1911350"/>
            <a:ext cx="5240337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151786" y="1911350"/>
            <a:ext cx="2579688" cy="413940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8819257" y="1911350"/>
            <a:ext cx="2579688" cy="413940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787400" y="4038600"/>
            <a:ext cx="5240338" cy="2012157"/>
          </a:xfrm>
          <a:prstGeom prst="rect">
            <a:avLst/>
          </a:prstGeom>
          <a:solidFill>
            <a:srgbClr val="7A7A7A"/>
          </a:solidFill>
        </p:spPr>
        <p:txBody>
          <a:bodyPr anchor="t"/>
          <a:lstStyle>
            <a:lvl1pPr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32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1625600" y="1936750"/>
            <a:ext cx="3860801" cy="3860801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 hasCustomPrompt="1"/>
          </p:nvPr>
        </p:nvSpPr>
        <p:spPr>
          <a:xfrm>
            <a:off x="6708068" y="1936750"/>
            <a:ext cx="3860801" cy="3860801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02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940966" y="1936750"/>
            <a:ext cx="3860801" cy="3860801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5156200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 hasCustomPrompt="1"/>
          </p:nvPr>
        </p:nvSpPr>
        <p:spPr>
          <a:xfrm>
            <a:off x="7297678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9444656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8" hasCustomPrompt="1"/>
          </p:nvPr>
        </p:nvSpPr>
        <p:spPr>
          <a:xfrm>
            <a:off x="5156200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9" hasCustomPrompt="1"/>
          </p:nvPr>
        </p:nvSpPr>
        <p:spPr>
          <a:xfrm>
            <a:off x="7297678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20" hasCustomPrompt="1"/>
          </p:nvPr>
        </p:nvSpPr>
        <p:spPr>
          <a:xfrm>
            <a:off x="9444656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2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97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/>
          <p:cNvSpPr>
            <a:spLocks noGrp="1"/>
          </p:cNvSpPr>
          <p:nvPr>
            <p:ph type="pic" sz="quarter" idx="15" hasCustomPrompt="1"/>
          </p:nvPr>
        </p:nvSpPr>
        <p:spPr>
          <a:xfrm>
            <a:off x="5156200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 hasCustomPrompt="1"/>
          </p:nvPr>
        </p:nvSpPr>
        <p:spPr>
          <a:xfrm>
            <a:off x="7297678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9444656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8" hasCustomPrompt="1"/>
          </p:nvPr>
        </p:nvSpPr>
        <p:spPr>
          <a:xfrm>
            <a:off x="5156200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9" hasCustomPrompt="1"/>
          </p:nvPr>
        </p:nvSpPr>
        <p:spPr>
          <a:xfrm>
            <a:off x="7297678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20" hasCustomPrompt="1"/>
          </p:nvPr>
        </p:nvSpPr>
        <p:spPr>
          <a:xfrm>
            <a:off x="9444656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21" hasCustomPrompt="1"/>
          </p:nvPr>
        </p:nvSpPr>
        <p:spPr>
          <a:xfrm>
            <a:off x="3009222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22" hasCustomPrompt="1"/>
          </p:nvPr>
        </p:nvSpPr>
        <p:spPr>
          <a:xfrm>
            <a:off x="3009222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23" hasCustomPrompt="1"/>
          </p:nvPr>
        </p:nvSpPr>
        <p:spPr>
          <a:xfrm>
            <a:off x="867744" y="398780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24" hasCustomPrompt="1"/>
          </p:nvPr>
        </p:nvSpPr>
        <p:spPr>
          <a:xfrm>
            <a:off x="867744" y="2000250"/>
            <a:ext cx="1809750" cy="180975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3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68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/>
          <p:cNvSpPr>
            <a:spLocks noGrp="1"/>
          </p:cNvSpPr>
          <p:nvPr>
            <p:ph type="pic" sz="quarter" idx="21" hasCustomPrompt="1"/>
          </p:nvPr>
        </p:nvSpPr>
        <p:spPr>
          <a:xfrm>
            <a:off x="4273550" y="1943100"/>
            <a:ext cx="3860800" cy="38608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2" hasCustomPrompt="1"/>
          </p:nvPr>
        </p:nvSpPr>
        <p:spPr>
          <a:xfrm>
            <a:off x="8156194" y="3637788"/>
            <a:ext cx="2070100" cy="20701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23" hasCustomPrompt="1"/>
          </p:nvPr>
        </p:nvSpPr>
        <p:spPr>
          <a:xfrm>
            <a:off x="2227453" y="2190751"/>
            <a:ext cx="1868933" cy="1868932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24" hasCustomPrompt="1"/>
          </p:nvPr>
        </p:nvSpPr>
        <p:spPr>
          <a:xfrm>
            <a:off x="1415257" y="4050745"/>
            <a:ext cx="1391444" cy="1391443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25" hasCustomPrompt="1"/>
          </p:nvPr>
        </p:nvSpPr>
        <p:spPr>
          <a:xfrm>
            <a:off x="8517792" y="2220532"/>
            <a:ext cx="1204059" cy="1204057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26" hasCustomPrompt="1"/>
          </p:nvPr>
        </p:nvSpPr>
        <p:spPr>
          <a:xfrm>
            <a:off x="9918701" y="2171701"/>
            <a:ext cx="939800" cy="939799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27" hasCustomPrompt="1"/>
          </p:nvPr>
        </p:nvSpPr>
        <p:spPr>
          <a:xfrm>
            <a:off x="3028950" y="4133850"/>
            <a:ext cx="1054101" cy="1054100"/>
          </a:xfrm>
          <a:custGeom>
            <a:avLst/>
            <a:gdLst>
              <a:gd name="connsiteX0" fmla="*/ 1079500 w 2159000"/>
              <a:gd name="connsiteY0" fmla="*/ 0 h 2159000"/>
              <a:gd name="connsiteX1" fmla="*/ 2159000 w 2159000"/>
              <a:gd name="connsiteY1" fmla="*/ 1079500 h 2159000"/>
              <a:gd name="connsiteX2" fmla="*/ 1079500 w 2159000"/>
              <a:gd name="connsiteY2" fmla="*/ 2159000 h 2159000"/>
              <a:gd name="connsiteX3" fmla="*/ 0 w 2159000"/>
              <a:gd name="connsiteY3" fmla="*/ 1079500 h 2159000"/>
              <a:gd name="connsiteX4" fmla="*/ 1079500 w 2159000"/>
              <a:gd name="connsiteY4" fmla="*/ 0 h 215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000" h="2159000">
                <a:moveTo>
                  <a:pt x="1079500" y="0"/>
                </a:moveTo>
                <a:cubicBezTo>
                  <a:pt x="1675691" y="0"/>
                  <a:pt x="2159000" y="483309"/>
                  <a:pt x="2159000" y="1079500"/>
                </a:cubicBezTo>
                <a:cubicBezTo>
                  <a:pt x="2159000" y="1675691"/>
                  <a:pt x="1675691" y="2159000"/>
                  <a:pt x="1079500" y="2159000"/>
                </a:cubicBezTo>
                <a:cubicBezTo>
                  <a:pt x="483309" y="2159000"/>
                  <a:pt x="0" y="1675691"/>
                  <a:pt x="0" y="1079500"/>
                </a:cubicBezTo>
                <a:cubicBezTo>
                  <a:pt x="0" y="483309"/>
                  <a:pt x="483309" y="0"/>
                  <a:pt x="1079500" y="0"/>
                </a:cubicBezTo>
                <a:close/>
              </a:path>
            </a:pathLst>
          </a:custGeom>
          <a:solidFill>
            <a:srgbClr val="7A7A7A"/>
          </a:solidFill>
        </p:spPr>
        <p:txBody>
          <a:bodyPr wrap="square" anchor="ctr">
            <a:noAutofit/>
          </a:bodyPr>
          <a:lstStyle>
            <a:lvl1pPr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op Image Here</a:t>
            </a:r>
          </a:p>
        </p:txBody>
      </p:sp>
      <p:sp>
        <p:nvSpPr>
          <p:cNvPr id="4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  <p:sp>
        <p:nvSpPr>
          <p:cNvPr id="4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361380" y="458100"/>
            <a:ext cx="240450" cy="207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 lang="en-US" sz="1350" smtClean="0">
                <a:solidFill>
                  <a:srgbClr val="FFFFFF"/>
                </a:solidFill>
                <a:latin typeface="Open Sans Bold" charset="0"/>
                <a:ea typeface="ＭＳ Ｐゴシック" charset="0"/>
                <a:cs typeface="Open Sans Bold" charset="0"/>
              </a:defRPr>
            </a:lvl1pPr>
          </a:lstStyle>
          <a:p>
            <a:fld id="{180360BF-F590-44C3-913D-DB7AFB9E57F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886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3A8393-12EC-45FC-A7FE-8E17093DC4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06CB36-6170-4A1C-AB76-C253C11DF3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36F60D-9EC0-46E4-951E-0DB73ED601D2}" type="datetimeFigureOut">
              <a:rPr lang="en-US" smtClean="0"/>
              <a:t>6/1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29AC20-63BC-4998-9FA1-0C7C0FEBE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2D5120-7740-418D-8E8B-B003EC51E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BCADD-DEC8-43B7-86E9-527510626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50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02D154-1C28-41D5-BAAC-10DBD6525A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36F60D-9EC0-46E4-951E-0DB73ED601D2}" type="datetimeFigureOut">
              <a:rPr lang="en-US" smtClean="0"/>
              <a:t>6/13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E3F5EE-A7D3-4483-BC17-575A2B231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ECAA9-4857-4879-938B-54F82BAC6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BCADD-DEC8-43B7-86E9-527510626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7068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Master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06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Picture Profi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ln w="28575"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2CAF9D-5533-4ADA-833F-E6FB76EB69A5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Gill San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/13/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F3F4A"/>
              </a:solidFill>
              <a:effectLst/>
              <a:uLnTx/>
              <a:uFillTx/>
              <a:latin typeface="Gill San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Montserrat-Regular" charset="0"/>
              <a:ea typeface="ＭＳ Ｐゴシック" charset="0"/>
              <a:sym typeface="Montserrat-Regular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FBE4F-D559-476D-AEE3-28F000B7084D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Gill San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F3F4A"/>
              </a:solidFill>
              <a:effectLst/>
              <a:uLnTx/>
              <a:uFillTx/>
              <a:latin typeface="Gill Sans"/>
            </a:endParaRPr>
          </a:p>
        </p:txBody>
      </p:sp>
      <p:sp>
        <p:nvSpPr>
          <p:cNvPr id="125" name="Title 1"/>
          <p:cNvSpPr>
            <a:spLocks noGrp="1"/>
          </p:cNvSpPr>
          <p:nvPr>
            <p:ph type="title"/>
          </p:nvPr>
        </p:nvSpPr>
        <p:spPr>
          <a:xfrm>
            <a:off x="838200" y="620541"/>
            <a:ext cx="10515600" cy="839840"/>
          </a:xfrm>
        </p:spPr>
        <p:txBody>
          <a:bodyPr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838200" y="1413628"/>
            <a:ext cx="10515600" cy="266700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27" name="Group 126"/>
          <p:cNvGrpSpPr/>
          <p:nvPr userDrawn="1"/>
        </p:nvGrpSpPr>
        <p:grpSpPr>
          <a:xfrm>
            <a:off x="5721121" y="1329546"/>
            <a:ext cx="749759" cy="88157"/>
            <a:chOff x="5833290" y="2440842"/>
            <a:chExt cx="525419" cy="61779"/>
          </a:xfrm>
        </p:grpSpPr>
        <p:sp>
          <p:nvSpPr>
            <p:cNvPr id="128" name="Oval 127"/>
            <p:cNvSpPr/>
            <p:nvPr/>
          </p:nvSpPr>
          <p:spPr>
            <a:xfrm>
              <a:off x="5910564" y="2440842"/>
              <a:ext cx="61779" cy="6177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5987837" y="2440842"/>
              <a:ext cx="61779" cy="6177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30" name="Oval 129"/>
            <p:cNvSpPr/>
            <p:nvPr/>
          </p:nvSpPr>
          <p:spPr>
            <a:xfrm>
              <a:off x="6065111" y="2440842"/>
              <a:ext cx="61779" cy="6177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31" name="Oval 130"/>
            <p:cNvSpPr/>
            <p:nvPr/>
          </p:nvSpPr>
          <p:spPr>
            <a:xfrm>
              <a:off x="6142384" y="2440842"/>
              <a:ext cx="61779" cy="6177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32" name="Oval 131"/>
            <p:cNvSpPr/>
            <p:nvPr/>
          </p:nvSpPr>
          <p:spPr>
            <a:xfrm>
              <a:off x="6219657" y="2440842"/>
              <a:ext cx="61779" cy="6177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33" name="Oval 132"/>
            <p:cNvSpPr/>
            <p:nvPr/>
          </p:nvSpPr>
          <p:spPr>
            <a:xfrm>
              <a:off x="5833290" y="2440842"/>
              <a:ext cx="61779" cy="61779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  <p:sp>
          <p:nvSpPr>
            <p:cNvPr id="134" name="Oval 133"/>
            <p:cNvSpPr/>
            <p:nvPr/>
          </p:nvSpPr>
          <p:spPr>
            <a:xfrm>
              <a:off x="6296930" y="2440842"/>
              <a:ext cx="61779" cy="61779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5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</a:endParaRPr>
            </a:p>
          </p:txBody>
        </p:sp>
      </p:grpSp>
      <p:sp>
        <p:nvSpPr>
          <p:cNvPr id="19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319548" y="2212375"/>
            <a:ext cx="1697846" cy="1697847"/>
          </a:xfrm>
          <a:prstGeom prst="ellipse">
            <a:avLst/>
          </a:prstGeom>
          <a:ln w="38100">
            <a:noFill/>
          </a:ln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928322" y="2212375"/>
            <a:ext cx="1697846" cy="1697847"/>
          </a:xfrm>
          <a:prstGeom prst="ellipse">
            <a:avLst/>
          </a:prstGeom>
          <a:ln w="38100">
            <a:noFill/>
          </a:ln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552327" y="2212375"/>
            <a:ext cx="1697846" cy="1697847"/>
          </a:xfrm>
          <a:prstGeom prst="ellipse">
            <a:avLst/>
          </a:prstGeom>
          <a:ln w="38100">
            <a:noFill/>
          </a:ln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9161101" y="2212375"/>
            <a:ext cx="1697846" cy="1697847"/>
          </a:xfrm>
          <a:prstGeom prst="ellipse">
            <a:avLst/>
          </a:prstGeom>
          <a:ln w="38100">
            <a:noFill/>
          </a:ln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599113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750"/>
                            </p:stCondLst>
                            <p:childTnLst>
                              <p:par>
                                <p:cTn id="19" presetID="53" presetClass="entr" presetSubtype="16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/>
      <p:bldP spid="126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26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1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1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/>
      <p:bldP spid="20" grpId="0"/>
      <p:bldP spid="21" grpId="0"/>
      <p:bldP spid="26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0F733F-95FE-CC3B-C5C6-815F69B7D4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E20DB9-28BF-A35D-CBF7-31435B45B5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1CA965-0E3A-8732-062F-67BB793481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E63941-48F1-C046-3DAF-86E9F17D4D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45D0AA-AF30-0A6B-3AD5-D83EDD027C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372822-5B1D-C352-5EF2-4AB709D37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F38B6D-6C3B-FA85-BC00-EE41C23EB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E82807D-1393-3159-66AD-B633C8A18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6297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H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/>
          <p:nvPr/>
        </p:nvSpPr>
        <p:spPr>
          <a:xfrm>
            <a:off x="-7163" y="-3336"/>
            <a:ext cx="12206326" cy="1317843"/>
          </a:xfrm>
          <a:prstGeom prst="rect">
            <a:avLst/>
          </a:prstGeom>
          <a:solidFill>
            <a:srgbClr val="35343A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11205411" y="360948"/>
            <a:ext cx="753979" cy="565484"/>
          </a:xfrm>
          <a:prstGeom prst="ellipse">
            <a:avLst/>
          </a:prstGeom>
          <a:solidFill>
            <a:srgbClr val="76869D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rtlCol="0" anchor="ctr">
            <a:noAutofit/>
          </a:bodyPr>
          <a:lstStyle/>
          <a:p>
            <a:pPr marL="0" marR="0" lvl="0" indent="0" algn="ctr" defTabSz="4127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72716" y="415019"/>
            <a:ext cx="518172" cy="487349"/>
            <a:chOff x="8667715" y="4860555"/>
            <a:chExt cx="952571" cy="1194543"/>
          </a:xfrm>
        </p:grpSpPr>
        <p:sp>
          <p:nvSpPr>
            <p:cNvPr id="11" name="Shape 63"/>
            <p:cNvSpPr/>
            <p:nvPr userDrawn="1"/>
          </p:nvSpPr>
          <p:spPr>
            <a:xfrm>
              <a:off x="8667715" y="4860555"/>
              <a:ext cx="226657" cy="119454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algn="ctr" defTabSz="4127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12" name="Shape 64"/>
            <p:cNvSpPr/>
            <p:nvPr userDrawn="1"/>
          </p:nvSpPr>
          <p:spPr>
            <a:xfrm>
              <a:off x="9029140" y="5209728"/>
              <a:ext cx="226658" cy="845369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algn="ctr" defTabSz="4127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13" name="Shape 65"/>
            <p:cNvSpPr/>
            <p:nvPr userDrawn="1"/>
          </p:nvSpPr>
          <p:spPr>
            <a:xfrm>
              <a:off x="9393628" y="5552777"/>
              <a:ext cx="226658" cy="50232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accent5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 marL="0" marR="0" lvl="0" indent="0" algn="ctr" defTabSz="4127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sp>
        <p:nvSpPr>
          <p:cNvPr id="20" name="Shape 2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algn="ctr" defTabSz="412750"/>
            <a:fld id="{86CB4B4D-7CA3-9044-876B-883B54F8677D}" type="slidenum">
              <a:rPr lang="en-US" sz="2800" kern="0" smtClean="0">
                <a:solidFill>
                  <a:sysClr val="windowText" lastClr="000000"/>
                </a:solidFill>
                <a:sym typeface="Gill Sans"/>
              </a:rPr>
              <a:pPr algn="ctr" defTabSz="412750"/>
              <a:t>‹#›</a:t>
            </a:fld>
            <a:endParaRPr lang="en-US" sz="2800" kern="0">
              <a:solidFill>
                <a:sysClr val="windowText" lastClr="000000"/>
              </a:solidFill>
              <a:sym typeface="Gill Sans"/>
            </a:endParaRPr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977900" y="185687"/>
            <a:ext cx="8128000" cy="635001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268464057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40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31" indent="0" algn="ctr">
              <a:buNone/>
              <a:defRPr sz="2000"/>
            </a:lvl2pPr>
            <a:lvl3pPr marL="914264" indent="0" algn="ctr">
              <a:buNone/>
              <a:defRPr sz="1800"/>
            </a:lvl3pPr>
            <a:lvl4pPr marL="1371396" indent="0" algn="ctr">
              <a:buNone/>
              <a:defRPr sz="1600"/>
            </a:lvl4pPr>
            <a:lvl5pPr marL="1828528" indent="0" algn="ctr">
              <a:buNone/>
              <a:defRPr sz="1600"/>
            </a:lvl5pPr>
            <a:lvl6pPr marL="2285662" indent="0" algn="ctr">
              <a:buNone/>
              <a:defRPr sz="1600"/>
            </a:lvl6pPr>
            <a:lvl7pPr marL="2742790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5713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173" y="468072"/>
            <a:ext cx="10515600" cy="9146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lang="en-US">
                <a:solidFill>
                  <a:schemeClr val="tx1">
                    <a:lumMod val="65000"/>
                    <a:lumOff val="35000"/>
                  </a:schemeClr>
                </a:solidFill>
                <a:latin typeface="Bebas Neue Regular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lvl="0" defTabSz="913946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4953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62736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634486" y="2374528"/>
            <a:ext cx="2351229" cy="3120776"/>
          </a:xfrm>
          <a:prstGeom prst="roundRect">
            <a:avLst>
              <a:gd name="adj" fmla="val 2706"/>
            </a:avLst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818754" y="2374528"/>
            <a:ext cx="2351229" cy="3120776"/>
          </a:xfrm>
          <a:prstGeom prst="roundRect">
            <a:avLst>
              <a:gd name="adj" fmla="val 2706"/>
            </a:avLst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2978854" y="2374528"/>
            <a:ext cx="2351229" cy="3120776"/>
          </a:xfrm>
          <a:prstGeom prst="roundRect">
            <a:avLst>
              <a:gd name="adj" fmla="val 2706"/>
            </a:avLst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4163052" y="2374528"/>
            <a:ext cx="2351229" cy="3120776"/>
          </a:xfrm>
          <a:prstGeom prst="roundRect">
            <a:avLst>
              <a:gd name="adj" fmla="val 2706"/>
            </a:avLst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5354252" y="2374528"/>
            <a:ext cx="2351229" cy="3120776"/>
          </a:xfrm>
          <a:prstGeom prst="roundRect">
            <a:avLst>
              <a:gd name="adj" fmla="val 2706"/>
            </a:avLst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4266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454927" y="1933550"/>
            <a:ext cx="2853177" cy="1909607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83898" y="2888356"/>
            <a:ext cx="2853177" cy="1909607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568579" y="1933551"/>
            <a:ext cx="2853177" cy="1909607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770244" y="2888354"/>
            <a:ext cx="2853177" cy="1909607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8285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561660" y="4037442"/>
            <a:ext cx="1548633" cy="207125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1" y="2035612"/>
            <a:ext cx="2302937" cy="26458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302936" y="2035612"/>
            <a:ext cx="4258724" cy="40730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824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20577" y="1734441"/>
            <a:ext cx="3270620" cy="21096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592477" y="1734441"/>
            <a:ext cx="3270620" cy="21096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100804" y="1734441"/>
            <a:ext cx="3270620" cy="21096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2727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60458" y="1714500"/>
            <a:ext cx="2381885" cy="3822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149658" y="1714500"/>
            <a:ext cx="2381885" cy="38227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5781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apezoid 2"/>
          <p:cNvSpPr/>
          <p:nvPr userDrawn="1"/>
        </p:nvSpPr>
        <p:spPr>
          <a:xfrm rot="16200000" flipH="1">
            <a:off x="8645268" y="1665712"/>
            <a:ext cx="3181863" cy="3911602"/>
          </a:xfrm>
          <a:prstGeom prst="trapezoid">
            <a:avLst>
              <a:gd name="adj" fmla="val 498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6" name="Trapezoid 5"/>
          <p:cNvSpPr/>
          <p:nvPr userDrawn="1"/>
        </p:nvSpPr>
        <p:spPr>
          <a:xfrm rot="5400000">
            <a:off x="364871" y="1665712"/>
            <a:ext cx="3181863" cy="3911602"/>
          </a:xfrm>
          <a:prstGeom prst="trapezoid">
            <a:avLst>
              <a:gd name="adj" fmla="val 4988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 userDrawn="1">
            <p:ph type="pic" sz="quarter" idx="13"/>
          </p:nvPr>
        </p:nvSpPr>
        <p:spPr>
          <a:xfrm>
            <a:off x="82350" y="2138018"/>
            <a:ext cx="3755138" cy="2985151"/>
          </a:xfrm>
          <a:custGeom>
            <a:avLst/>
            <a:gdLst>
              <a:gd name="connsiteX0" fmla="*/ 0 w 3755138"/>
              <a:gd name="connsiteY0" fmla="*/ 0 h 2985151"/>
              <a:gd name="connsiteX1" fmla="*/ 3755138 w 3755138"/>
              <a:gd name="connsiteY1" fmla="*/ 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8788 w 3755138"/>
              <a:gd name="connsiteY1" fmla="*/ 20955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270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8454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138" h="2985151">
                <a:moveTo>
                  <a:pt x="0" y="0"/>
                </a:moveTo>
                <a:lnTo>
                  <a:pt x="3742438" y="139700"/>
                </a:lnTo>
                <a:cubicBezTo>
                  <a:pt x="3744555" y="1064900"/>
                  <a:pt x="3753021" y="1920251"/>
                  <a:pt x="3755138" y="2845451"/>
                </a:cubicBezTo>
                <a:lnTo>
                  <a:pt x="0" y="29851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 userDrawn="1">
            <p:ph type="pic" sz="quarter" idx="14"/>
          </p:nvPr>
        </p:nvSpPr>
        <p:spPr>
          <a:xfrm flipH="1">
            <a:off x="8354512" y="2138018"/>
            <a:ext cx="3755138" cy="2985151"/>
          </a:xfrm>
          <a:custGeom>
            <a:avLst/>
            <a:gdLst>
              <a:gd name="connsiteX0" fmla="*/ 0 w 3755138"/>
              <a:gd name="connsiteY0" fmla="*/ 0 h 2985151"/>
              <a:gd name="connsiteX1" fmla="*/ 3755138 w 3755138"/>
              <a:gd name="connsiteY1" fmla="*/ 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8788 w 3755138"/>
              <a:gd name="connsiteY1" fmla="*/ 20955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270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9851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  <a:gd name="connsiteX0" fmla="*/ 0 w 3755138"/>
              <a:gd name="connsiteY0" fmla="*/ 0 h 2985151"/>
              <a:gd name="connsiteX1" fmla="*/ 3742438 w 3755138"/>
              <a:gd name="connsiteY1" fmla="*/ 139700 h 2985151"/>
              <a:gd name="connsiteX2" fmla="*/ 3755138 w 3755138"/>
              <a:gd name="connsiteY2" fmla="*/ 2845451 h 2985151"/>
              <a:gd name="connsiteX3" fmla="*/ 0 w 3755138"/>
              <a:gd name="connsiteY3" fmla="*/ 2985151 h 2985151"/>
              <a:gd name="connsiteX4" fmla="*/ 0 w 3755138"/>
              <a:gd name="connsiteY4" fmla="*/ 0 h 298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138" h="2985151">
                <a:moveTo>
                  <a:pt x="0" y="0"/>
                </a:moveTo>
                <a:lnTo>
                  <a:pt x="3742438" y="139700"/>
                </a:lnTo>
                <a:cubicBezTo>
                  <a:pt x="3744555" y="1064900"/>
                  <a:pt x="3753021" y="1920251"/>
                  <a:pt x="3755138" y="2845451"/>
                </a:cubicBezTo>
                <a:lnTo>
                  <a:pt x="0" y="298515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301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56B2DC-0B16-B3FE-E694-E05E3CF10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75CFBA-AE2F-94FC-BDA8-B15D35D62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151A30-D045-4DDA-7CE9-99274D7CE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1EC47B-BB97-D25E-3765-7583045F8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76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apezoid 2"/>
          <p:cNvSpPr/>
          <p:nvPr userDrawn="1"/>
        </p:nvSpPr>
        <p:spPr>
          <a:xfrm rot="5400000">
            <a:off x="1023916" y="1318391"/>
            <a:ext cx="3867176" cy="4754087"/>
          </a:xfrm>
          <a:prstGeom prst="trapezoid">
            <a:avLst>
              <a:gd name="adj" fmla="val 10682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80545" y="1892423"/>
            <a:ext cx="4564536" cy="3628096"/>
          </a:xfrm>
          <a:custGeom>
            <a:avLst/>
            <a:gdLst>
              <a:gd name="connsiteX0" fmla="*/ 0 w 4563925"/>
              <a:gd name="connsiteY0" fmla="*/ 0 h 3628096"/>
              <a:gd name="connsiteX1" fmla="*/ 4563925 w 4563925"/>
              <a:gd name="connsiteY1" fmla="*/ 0 h 3628096"/>
              <a:gd name="connsiteX2" fmla="*/ 4563925 w 4563925"/>
              <a:gd name="connsiteY2" fmla="*/ 3628096 h 3628096"/>
              <a:gd name="connsiteX3" fmla="*/ 0 w 4563925"/>
              <a:gd name="connsiteY3" fmla="*/ 3628096 h 3628096"/>
              <a:gd name="connsiteX4" fmla="*/ 0 w 4563925"/>
              <a:gd name="connsiteY4" fmla="*/ 0 h 3628096"/>
              <a:gd name="connsiteX0" fmla="*/ 0 w 4570275"/>
              <a:gd name="connsiteY0" fmla="*/ 0 h 3628096"/>
              <a:gd name="connsiteX1" fmla="*/ 4570275 w 4570275"/>
              <a:gd name="connsiteY1" fmla="*/ 546100 h 3628096"/>
              <a:gd name="connsiteX2" fmla="*/ 4563925 w 4570275"/>
              <a:gd name="connsiteY2" fmla="*/ 3628096 h 3628096"/>
              <a:gd name="connsiteX3" fmla="*/ 0 w 4570275"/>
              <a:gd name="connsiteY3" fmla="*/ 3628096 h 3628096"/>
              <a:gd name="connsiteX4" fmla="*/ 0 w 4570275"/>
              <a:gd name="connsiteY4" fmla="*/ 0 h 3628096"/>
              <a:gd name="connsiteX0" fmla="*/ 0 w 4564536"/>
              <a:gd name="connsiteY0" fmla="*/ 0 h 3628096"/>
              <a:gd name="connsiteX1" fmla="*/ 4563925 w 4564536"/>
              <a:gd name="connsiteY1" fmla="*/ 393700 h 3628096"/>
              <a:gd name="connsiteX2" fmla="*/ 4563925 w 4564536"/>
              <a:gd name="connsiteY2" fmla="*/ 3628096 h 3628096"/>
              <a:gd name="connsiteX3" fmla="*/ 0 w 4564536"/>
              <a:gd name="connsiteY3" fmla="*/ 3628096 h 3628096"/>
              <a:gd name="connsiteX4" fmla="*/ 0 w 4564536"/>
              <a:gd name="connsiteY4" fmla="*/ 0 h 3628096"/>
              <a:gd name="connsiteX0" fmla="*/ 0 w 4563925"/>
              <a:gd name="connsiteY0" fmla="*/ 0 h 3628096"/>
              <a:gd name="connsiteX1" fmla="*/ 4563925 w 4563925"/>
              <a:gd name="connsiteY1" fmla="*/ 393700 h 3628096"/>
              <a:gd name="connsiteX2" fmla="*/ 4551225 w 4563925"/>
              <a:gd name="connsiteY2" fmla="*/ 3177246 h 3628096"/>
              <a:gd name="connsiteX3" fmla="*/ 0 w 4563925"/>
              <a:gd name="connsiteY3" fmla="*/ 3628096 h 3628096"/>
              <a:gd name="connsiteX4" fmla="*/ 0 w 4563925"/>
              <a:gd name="connsiteY4" fmla="*/ 0 h 3628096"/>
              <a:gd name="connsiteX0" fmla="*/ 0 w 4564536"/>
              <a:gd name="connsiteY0" fmla="*/ 0 h 3628096"/>
              <a:gd name="connsiteX1" fmla="*/ 4563925 w 4564536"/>
              <a:gd name="connsiteY1" fmla="*/ 393700 h 3628096"/>
              <a:gd name="connsiteX2" fmla="*/ 4563925 w 4564536"/>
              <a:gd name="connsiteY2" fmla="*/ 3234396 h 3628096"/>
              <a:gd name="connsiteX3" fmla="*/ 0 w 4564536"/>
              <a:gd name="connsiteY3" fmla="*/ 3628096 h 3628096"/>
              <a:gd name="connsiteX4" fmla="*/ 0 w 4564536"/>
              <a:gd name="connsiteY4" fmla="*/ 0 h 362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64536" h="3628096">
                <a:moveTo>
                  <a:pt x="0" y="0"/>
                </a:moveTo>
                <a:lnTo>
                  <a:pt x="4563925" y="393700"/>
                </a:lnTo>
                <a:cubicBezTo>
                  <a:pt x="4561808" y="1421032"/>
                  <a:pt x="4566042" y="2207064"/>
                  <a:pt x="4563925" y="3234396"/>
                </a:cubicBezTo>
                <a:lnTo>
                  <a:pt x="0" y="362809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8184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454" y="2032300"/>
            <a:ext cx="3220120" cy="2595373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 userDrawn="1">
            <p:ph type="pic" sz="quarter" idx="13"/>
          </p:nvPr>
        </p:nvSpPr>
        <p:spPr>
          <a:xfrm>
            <a:off x="4609091" y="2157039"/>
            <a:ext cx="3012196" cy="16902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1475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1851" y="1854385"/>
            <a:ext cx="4999154" cy="4029251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740526" y="2047875"/>
            <a:ext cx="4676775" cy="26241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4059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2044700"/>
            <a:ext cx="12192000" cy="226174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12192000" cy="205962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60000" sy="60000" flip="none" algn="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86817" y="1602288"/>
            <a:ext cx="3657454" cy="550988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7540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104990" y="1615966"/>
            <a:ext cx="2355760" cy="35361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1441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689571" y="1906814"/>
            <a:ext cx="1955226" cy="294551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011434" y="2870087"/>
            <a:ext cx="1478409" cy="224946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9131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819136" y="2157880"/>
            <a:ext cx="6289589" cy="218714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0145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20846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6071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10230362" y="2376604"/>
            <a:ext cx="1116130" cy="11161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884978" y="2376604"/>
            <a:ext cx="1116130" cy="11161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358596" y="2376604"/>
            <a:ext cx="1116130" cy="11161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707771" y="2376604"/>
            <a:ext cx="1116130" cy="11161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898825" y="2376604"/>
            <a:ext cx="1116130" cy="111613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9685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545671" y="2491352"/>
            <a:ext cx="2493473" cy="249347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235447" y="2491352"/>
            <a:ext cx="2493473" cy="2493473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9861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AEE08B-E64B-B156-A049-A4BBA8922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881192-6936-0EB0-9BDC-78B738DBAA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AC7C4A-AB4D-52FC-D283-32EB7F2D7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6479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66044" y="1704621"/>
            <a:ext cx="5023556" cy="246361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502401" y="1704621"/>
            <a:ext cx="5023556" cy="246361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7141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3"/>
          <p:cNvSpPr>
            <a:spLocks/>
          </p:cNvSpPr>
          <p:nvPr userDrawn="1"/>
        </p:nvSpPr>
        <p:spPr bwMode="auto">
          <a:xfrm>
            <a:off x="3445600" y="3944214"/>
            <a:ext cx="877455" cy="877455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defTabSz="292100"/>
            <a:endParaRPr lang="id-ID" sz="20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" name="AutoShape 25"/>
          <p:cNvSpPr>
            <a:spLocks/>
          </p:cNvSpPr>
          <p:nvPr userDrawn="1"/>
        </p:nvSpPr>
        <p:spPr bwMode="auto">
          <a:xfrm>
            <a:off x="7313328" y="4960214"/>
            <a:ext cx="963324" cy="963324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defTabSz="292100"/>
            <a:endParaRPr lang="id-ID" sz="20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8" name="AutoShape 36"/>
          <p:cNvSpPr>
            <a:spLocks/>
          </p:cNvSpPr>
          <p:nvPr userDrawn="1"/>
        </p:nvSpPr>
        <p:spPr bwMode="auto">
          <a:xfrm>
            <a:off x="5338333" y="3429719"/>
            <a:ext cx="1379682" cy="1379682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accent1"/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defTabSz="292100"/>
            <a:endParaRPr lang="id-ID" sz="20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0" name="AutoShape 72"/>
          <p:cNvSpPr>
            <a:spLocks/>
          </p:cNvSpPr>
          <p:nvPr userDrawn="1"/>
        </p:nvSpPr>
        <p:spPr bwMode="auto">
          <a:xfrm>
            <a:off x="4172964" y="1779441"/>
            <a:ext cx="963324" cy="963324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defTabSz="292100"/>
            <a:endParaRPr lang="id-ID" sz="20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AutoShape 75"/>
          <p:cNvSpPr>
            <a:spLocks/>
          </p:cNvSpPr>
          <p:nvPr userDrawn="1"/>
        </p:nvSpPr>
        <p:spPr bwMode="auto">
          <a:xfrm>
            <a:off x="6632146" y="1837168"/>
            <a:ext cx="963324" cy="963324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12700" cap="flat" cmpd="sng">
            <a:noFill/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defTabSz="292100"/>
            <a:endParaRPr lang="id-ID" sz="2000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 userDrawn="1">
            <p:ph type="pic" sz="quarter" idx="13"/>
          </p:nvPr>
        </p:nvSpPr>
        <p:spPr>
          <a:xfrm>
            <a:off x="5416121" y="3517032"/>
            <a:ext cx="1214584" cy="1214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 userDrawn="1">
            <p:ph type="pic" sz="quarter" idx="14"/>
          </p:nvPr>
        </p:nvSpPr>
        <p:spPr>
          <a:xfrm>
            <a:off x="4216017" y="1827258"/>
            <a:ext cx="872166" cy="872164"/>
          </a:xfrm>
          <a:prstGeom prst="ellipse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 userDrawn="1">
            <p:ph type="pic" sz="quarter" idx="15"/>
          </p:nvPr>
        </p:nvSpPr>
        <p:spPr>
          <a:xfrm>
            <a:off x="6695603" y="1905003"/>
            <a:ext cx="841656" cy="841654"/>
          </a:xfrm>
          <a:prstGeom prst="ellipse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7" name="Picture Placeholder 6"/>
          <p:cNvSpPr>
            <a:spLocks noGrp="1"/>
          </p:cNvSpPr>
          <p:nvPr userDrawn="1">
            <p:ph type="pic" sz="quarter" idx="16"/>
          </p:nvPr>
        </p:nvSpPr>
        <p:spPr>
          <a:xfrm>
            <a:off x="7369012" y="5017785"/>
            <a:ext cx="850073" cy="850071"/>
          </a:xfrm>
          <a:prstGeom prst="ellipse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 userDrawn="1">
            <p:ph type="pic" sz="quarter" idx="17"/>
          </p:nvPr>
        </p:nvSpPr>
        <p:spPr>
          <a:xfrm>
            <a:off x="3492116" y="3993111"/>
            <a:ext cx="783699" cy="783696"/>
          </a:xfrm>
          <a:prstGeom prst="ellipse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7846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5305242" y="1973193"/>
            <a:ext cx="6429559" cy="15254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9002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Freeform 2"/>
          <p:cNvSpPr>
            <a:spLocks/>
          </p:cNvSpPr>
          <p:nvPr userDrawn="1"/>
        </p:nvSpPr>
        <p:spPr bwMode="auto">
          <a:xfrm flipH="1">
            <a:off x="4815267" y="2320513"/>
            <a:ext cx="2561471" cy="3142889"/>
          </a:xfrm>
          <a:custGeom>
            <a:avLst/>
            <a:gdLst/>
            <a:ahLst/>
            <a:cxnLst>
              <a:cxn ang="0">
                <a:pos x="169" y="528"/>
              </a:cxn>
              <a:cxn ang="0">
                <a:pos x="121" y="430"/>
              </a:cxn>
              <a:cxn ang="0">
                <a:pos x="54" y="428"/>
              </a:cxn>
              <a:cxn ang="0">
                <a:pos x="46" y="390"/>
              </a:cxn>
              <a:cxn ang="0">
                <a:pos x="28" y="376"/>
              </a:cxn>
              <a:cxn ang="0">
                <a:pos x="42" y="366"/>
              </a:cxn>
              <a:cxn ang="0">
                <a:pos x="24" y="356"/>
              </a:cxn>
              <a:cxn ang="0">
                <a:pos x="19" y="332"/>
              </a:cxn>
              <a:cxn ang="0">
                <a:pos x="9" y="305"/>
              </a:cxn>
              <a:cxn ang="0">
                <a:pos x="49" y="233"/>
              </a:cxn>
              <a:cxn ang="0">
                <a:pos x="133" y="58"/>
              </a:cxn>
              <a:cxn ang="0">
                <a:pos x="404" y="174"/>
              </a:cxn>
              <a:cxn ang="0">
                <a:pos x="336" y="387"/>
              </a:cxn>
              <a:cxn ang="0">
                <a:pos x="347" y="534"/>
              </a:cxn>
              <a:cxn ang="0">
                <a:pos x="168" y="534"/>
              </a:cxn>
              <a:cxn ang="0">
                <a:pos x="169" y="528"/>
              </a:cxn>
            </a:cxnLst>
            <a:rect l="0" t="0" r="r" b="b"/>
            <a:pathLst>
              <a:path w="436" h="534">
                <a:moveTo>
                  <a:pt x="169" y="528"/>
                </a:moveTo>
                <a:cubicBezTo>
                  <a:pt x="169" y="528"/>
                  <a:pt x="171" y="428"/>
                  <a:pt x="121" y="430"/>
                </a:cubicBezTo>
                <a:cubicBezTo>
                  <a:pt x="71" y="432"/>
                  <a:pt x="66" y="446"/>
                  <a:pt x="54" y="428"/>
                </a:cubicBezTo>
                <a:cubicBezTo>
                  <a:pt x="42" y="409"/>
                  <a:pt x="54" y="398"/>
                  <a:pt x="46" y="390"/>
                </a:cubicBezTo>
                <a:cubicBezTo>
                  <a:pt x="46" y="390"/>
                  <a:pt x="28" y="384"/>
                  <a:pt x="28" y="376"/>
                </a:cubicBezTo>
                <a:cubicBezTo>
                  <a:pt x="28" y="368"/>
                  <a:pt x="42" y="366"/>
                  <a:pt x="42" y="366"/>
                </a:cubicBezTo>
                <a:cubicBezTo>
                  <a:pt x="42" y="366"/>
                  <a:pt x="24" y="365"/>
                  <a:pt x="24" y="356"/>
                </a:cubicBezTo>
                <a:cubicBezTo>
                  <a:pt x="23" y="348"/>
                  <a:pt x="33" y="338"/>
                  <a:pt x="19" y="332"/>
                </a:cubicBezTo>
                <a:cubicBezTo>
                  <a:pt x="5" y="326"/>
                  <a:pt x="0" y="320"/>
                  <a:pt x="9" y="305"/>
                </a:cubicBezTo>
                <a:cubicBezTo>
                  <a:pt x="18" y="290"/>
                  <a:pt x="52" y="251"/>
                  <a:pt x="49" y="233"/>
                </a:cubicBezTo>
                <a:cubicBezTo>
                  <a:pt x="46" y="216"/>
                  <a:pt x="29" y="117"/>
                  <a:pt x="133" y="58"/>
                </a:cubicBezTo>
                <a:cubicBezTo>
                  <a:pt x="238" y="0"/>
                  <a:pt x="372" y="49"/>
                  <a:pt x="404" y="174"/>
                </a:cubicBezTo>
                <a:cubicBezTo>
                  <a:pt x="436" y="300"/>
                  <a:pt x="336" y="387"/>
                  <a:pt x="336" y="387"/>
                </a:cubicBezTo>
                <a:cubicBezTo>
                  <a:pt x="336" y="387"/>
                  <a:pt x="302" y="480"/>
                  <a:pt x="347" y="534"/>
                </a:cubicBezTo>
                <a:cubicBezTo>
                  <a:pt x="168" y="534"/>
                  <a:pt x="168" y="534"/>
                  <a:pt x="168" y="534"/>
                </a:cubicBezTo>
                <a:lnTo>
                  <a:pt x="169" y="528"/>
                </a:lnTo>
                <a:close/>
              </a:path>
            </a:pathLst>
          </a:cu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8901168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769627" y="4377697"/>
            <a:ext cx="1214584" cy="1214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206837" y="2781300"/>
            <a:ext cx="1214584" cy="1214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9164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9769627" y="2396144"/>
            <a:ext cx="1214584" cy="1214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206837" y="799747"/>
            <a:ext cx="1214584" cy="1214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5065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53125" y="1130302"/>
            <a:ext cx="3469347" cy="18799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48433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05103" y="1034274"/>
            <a:ext cx="5244835" cy="49161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15721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6560461" y="1930092"/>
            <a:ext cx="1618005" cy="161800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560461" y="4105208"/>
            <a:ext cx="1618005" cy="161800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12543" y="1930092"/>
            <a:ext cx="1618005" cy="161800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012543" y="4105208"/>
            <a:ext cx="1618005" cy="161800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1565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759585" y="1871024"/>
            <a:ext cx="2496457" cy="19304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851129" y="1871024"/>
            <a:ext cx="2496457" cy="19304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7935961" y="1871024"/>
            <a:ext cx="2496457" cy="19304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759586" y="380142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4851129" y="380142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7935962" y="380142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59586" y="183546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851129" y="183546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7935962" y="1835467"/>
            <a:ext cx="2496457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93"/>
            <a:endParaRPr lang="en-US" sz="2000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2176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C48FC-9EAC-EFE7-F474-10CCD3381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9DF3DD-2C7D-8524-C478-2238F69581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A3D6DA-D92C-A556-C577-F515ADA43D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5F8235-DBCD-EB30-E645-BF4F38134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5450FC-EB38-2914-17A9-46A989B58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D31048-F67D-C0F2-9507-D01110338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702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852551" y="3636804"/>
            <a:ext cx="1705836" cy="1825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6" name="Rectangle 5"/>
          <p:cNvSpPr/>
          <p:nvPr/>
        </p:nvSpPr>
        <p:spPr>
          <a:xfrm>
            <a:off x="3704089" y="3636804"/>
            <a:ext cx="1705836" cy="1825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7" name="Rectangle 6"/>
          <p:cNvSpPr/>
          <p:nvPr/>
        </p:nvSpPr>
        <p:spPr>
          <a:xfrm>
            <a:off x="5567403" y="3636804"/>
            <a:ext cx="1705836" cy="1825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8" name="Rectangle 7"/>
          <p:cNvSpPr/>
          <p:nvPr/>
        </p:nvSpPr>
        <p:spPr>
          <a:xfrm>
            <a:off x="7431709" y="3636804"/>
            <a:ext cx="1705836" cy="1825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9" name="Rectangle 8"/>
          <p:cNvSpPr/>
          <p:nvPr/>
        </p:nvSpPr>
        <p:spPr>
          <a:xfrm>
            <a:off x="9247879" y="3636804"/>
            <a:ext cx="1705836" cy="18258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25" name="Rectangle 24"/>
          <p:cNvSpPr/>
          <p:nvPr/>
        </p:nvSpPr>
        <p:spPr>
          <a:xfrm>
            <a:off x="1852551" y="5427714"/>
            <a:ext cx="1705836" cy="3787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26" name="Rectangle 25"/>
          <p:cNvSpPr/>
          <p:nvPr/>
        </p:nvSpPr>
        <p:spPr>
          <a:xfrm>
            <a:off x="3704089" y="5427714"/>
            <a:ext cx="1705836" cy="3787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27" name="Rectangle 26"/>
          <p:cNvSpPr/>
          <p:nvPr/>
        </p:nvSpPr>
        <p:spPr>
          <a:xfrm>
            <a:off x="5567403" y="5427714"/>
            <a:ext cx="1705836" cy="3787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28" name="Rectangle 27"/>
          <p:cNvSpPr/>
          <p:nvPr/>
        </p:nvSpPr>
        <p:spPr>
          <a:xfrm>
            <a:off x="7431709" y="5427714"/>
            <a:ext cx="1705836" cy="3787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29" name="Rectangle 28"/>
          <p:cNvSpPr/>
          <p:nvPr/>
        </p:nvSpPr>
        <p:spPr>
          <a:xfrm>
            <a:off x="9247879" y="5427714"/>
            <a:ext cx="1705836" cy="3787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55" name="Picture Placeholder 54"/>
          <p:cNvSpPr>
            <a:spLocks noGrp="1"/>
          </p:cNvSpPr>
          <p:nvPr userDrawn="1">
            <p:ph type="pic" sz="quarter" idx="13"/>
          </p:nvPr>
        </p:nvSpPr>
        <p:spPr>
          <a:xfrm>
            <a:off x="1271402" y="1935378"/>
            <a:ext cx="2297932" cy="1704598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56" name="Picture Placeholder 54"/>
          <p:cNvSpPr>
            <a:spLocks noGrp="1"/>
          </p:cNvSpPr>
          <p:nvPr userDrawn="1">
            <p:ph type="pic" sz="quarter" idx="14"/>
          </p:nvPr>
        </p:nvSpPr>
        <p:spPr>
          <a:xfrm>
            <a:off x="3116717" y="1935378"/>
            <a:ext cx="2297932" cy="1704598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57" name="Picture Placeholder 54"/>
          <p:cNvSpPr>
            <a:spLocks noGrp="1"/>
          </p:cNvSpPr>
          <p:nvPr userDrawn="1">
            <p:ph type="pic" sz="quarter" idx="15"/>
          </p:nvPr>
        </p:nvSpPr>
        <p:spPr>
          <a:xfrm>
            <a:off x="4984367" y="1935378"/>
            <a:ext cx="2297932" cy="1704598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58" name="Picture Placeholder 54"/>
          <p:cNvSpPr>
            <a:spLocks noGrp="1"/>
          </p:cNvSpPr>
          <p:nvPr userDrawn="1">
            <p:ph type="pic" sz="quarter" idx="16"/>
          </p:nvPr>
        </p:nvSpPr>
        <p:spPr>
          <a:xfrm>
            <a:off x="6839613" y="1935378"/>
            <a:ext cx="2297932" cy="1704598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59" name="Picture Placeholder 54"/>
          <p:cNvSpPr>
            <a:spLocks noGrp="1"/>
          </p:cNvSpPr>
          <p:nvPr userDrawn="1">
            <p:ph type="pic" sz="quarter" idx="17"/>
          </p:nvPr>
        </p:nvSpPr>
        <p:spPr>
          <a:xfrm>
            <a:off x="8678088" y="1935378"/>
            <a:ext cx="2297932" cy="1704598"/>
          </a:xfrm>
          <a:custGeom>
            <a:avLst/>
            <a:gdLst>
              <a:gd name="connsiteX0" fmla="*/ 0 w 2274119"/>
              <a:gd name="connsiteY0" fmla="*/ 0 h 1701423"/>
              <a:gd name="connsiteX1" fmla="*/ 2274119 w 2274119"/>
              <a:gd name="connsiteY1" fmla="*/ 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6518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0 w 2274119"/>
              <a:gd name="connsiteY3" fmla="*/ 1701423 h 1701423"/>
              <a:gd name="connsiteX4" fmla="*/ 0 w 2274119"/>
              <a:gd name="connsiteY4" fmla="*/ 0 h 1701423"/>
              <a:gd name="connsiteX0" fmla="*/ 0 w 2274119"/>
              <a:gd name="connsiteY0" fmla="*/ 0 h 1701423"/>
              <a:gd name="connsiteX1" fmla="*/ 1715319 w 2274119"/>
              <a:gd name="connsiteY1" fmla="*/ 6350 h 1701423"/>
              <a:gd name="connsiteX2" fmla="*/ 2274119 w 2274119"/>
              <a:gd name="connsiteY2" fmla="*/ 1701423 h 1701423"/>
              <a:gd name="connsiteX3" fmla="*/ 584200 w 2274119"/>
              <a:gd name="connsiteY3" fmla="*/ 1695073 h 1701423"/>
              <a:gd name="connsiteX4" fmla="*/ 0 w 2274119"/>
              <a:gd name="connsiteY4" fmla="*/ 0 h 1701423"/>
              <a:gd name="connsiteX0" fmla="*/ 0 w 2297932"/>
              <a:gd name="connsiteY0" fmla="*/ 0 h 1696660"/>
              <a:gd name="connsiteX1" fmla="*/ 1715319 w 2297932"/>
              <a:gd name="connsiteY1" fmla="*/ 6350 h 1696660"/>
              <a:gd name="connsiteX2" fmla="*/ 2297932 w 2297932"/>
              <a:gd name="connsiteY2" fmla="*/ 1696660 h 1696660"/>
              <a:gd name="connsiteX3" fmla="*/ 584200 w 2297932"/>
              <a:gd name="connsiteY3" fmla="*/ 1695073 h 1696660"/>
              <a:gd name="connsiteX4" fmla="*/ 0 w 2297932"/>
              <a:gd name="connsiteY4" fmla="*/ 0 h 1696660"/>
              <a:gd name="connsiteX0" fmla="*/ 0 w 2297932"/>
              <a:gd name="connsiteY0" fmla="*/ 0 h 1704598"/>
              <a:gd name="connsiteX1" fmla="*/ 1715319 w 2297932"/>
              <a:gd name="connsiteY1" fmla="*/ 6350 h 1704598"/>
              <a:gd name="connsiteX2" fmla="*/ 2297932 w 2297932"/>
              <a:gd name="connsiteY2" fmla="*/ 1696660 h 1704598"/>
              <a:gd name="connsiteX3" fmla="*/ 574675 w 2297932"/>
              <a:gd name="connsiteY3" fmla="*/ 1704598 h 1704598"/>
              <a:gd name="connsiteX4" fmla="*/ 0 w 2297932"/>
              <a:gd name="connsiteY4" fmla="*/ 0 h 1704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7932" h="1704598">
                <a:moveTo>
                  <a:pt x="0" y="0"/>
                </a:moveTo>
                <a:lnTo>
                  <a:pt x="1715319" y="6350"/>
                </a:lnTo>
                <a:lnTo>
                  <a:pt x="2297932" y="1696660"/>
                </a:lnTo>
                <a:lnTo>
                  <a:pt x="574675" y="170459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8754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9271572" y="243887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9271572" y="400732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2912500" y="243887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912500" y="400732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122325" y="243887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122325" y="4007326"/>
            <a:ext cx="1580521" cy="15176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8247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596573"/>
            <a:ext cx="12192000" cy="43688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6112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645025" y="827088"/>
            <a:ext cx="3119438" cy="25574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645025" y="3496141"/>
            <a:ext cx="3119438" cy="255746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3577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381500" y="3742415"/>
            <a:ext cx="1703118" cy="17098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116910" y="3742415"/>
            <a:ext cx="1703118" cy="17098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381500" y="1981200"/>
            <a:ext cx="1703118" cy="17098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116910" y="1981200"/>
            <a:ext cx="1703118" cy="170985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563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2962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2967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524001"/>
            <a:ext cx="12192000" cy="46736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8474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933552"/>
            <a:ext cx="12192000" cy="3988279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43174" y="2390596"/>
            <a:ext cx="5755747" cy="30935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1814" y="2498726"/>
            <a:ext cx="5570537" cy="290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0359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8570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12421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92000" cy="4216400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75000" flip="x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18319559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7602344" y="1731558"/>
            <a:ext cx="3958287" cy="445571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43512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27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ED06E-6EEA-039C-D588-A93482BAA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BC1265-6FDE-D66B-4FCF-316DC1227D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A5697F-3AD6-6CA7-21EC-0400B1775A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CF5AF03-5B05-304B-7532-F83944B94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765A5C-9323-9673-FE6E-D1164F75D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614DCE-E0B1-9541-98E4-DBE5F35FF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81794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560714" y="4093030"/>
            <a:ext cx="3958287" cy="18910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2360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60714" y="1972819"/>
            <a:ext cx="3958287" cy="18910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5357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8128000" y="1698346"/>
            <a:ext cx="4064000" cy="23799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32360" y="59274"/>
            <a:ext cx="437195" cy="276999"/>
          </a:xfrm>
        </p:spPr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698346"/>
            <a:ext cx="4064000" cy="23799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064000" y="1698346"/>
            <a:ext cx="4064000" cy="23799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 dirty="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7680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6853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853207" y="544615"/>
            <a:ext cx="1979862" cy="186627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5772759" y="2495866"/>
            <a:ext cx="1979862" cy="186627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9853207" y="4447116"/>
            <a:ext cx="1979862" cy="186627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6445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41075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3947886"/>
            <a:ext cx="12192001" cy="2910115"/>
          </a:xfrm>
          <a:prstGeom prst="rect">
            <a:avLst/>
          </a:prstGeom>
          <a:blipFill dpi="0"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tile tx="0" ty="0" sx="100000" sy="100000" flip="x" algn="t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979730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</p:spTree>
    <p:extLst>
      <p:ext uri="{BB962C8B-B14F-4D97-AF65-F5344CB8AC3E}">
        <p14:creationId xmlns:p14="http://schemas.microsoft.com/office/powerpoint/2010/main" val="7436238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8057155" y="3186370"/>
            <a:ext cx="1578746" cy="139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60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9128"/>
            <a:ext cx="5664199" cy="6064177"/>
          </a:xfrm>
          <a:prstGeom prst="rect">
            <a:avLst/>
          </a:prstGeom>
          <a:effectLst>
            <a:outerShdw blurRad="177800" dist="228600" dir="4680000" sx="99000" sy="99000" algn="t" rotWithShape="0">
              <a:prstClr val="black">
                <a:alpha val="11000"/>
              </a:prstClr>
            </a:outerShdw>
          </a:effectLst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478410" y="1794934"/>
            <a:ext cx="1578746" cy="139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9635902" y="1794934"/>
            <a:ext cx="1578746" cy="139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6478410" y="4577807"/>
            <a:ext cx="1578746" cy="139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16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9635902" y="4577807"/>
            <a:ext cx="1578746" cy="139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05676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989657" y="990600"/>
            <a:ext cx="6581649" cy="26282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>
              <a:defRPr lang="en-US" sz="1200"/>
            </a:lvl1pPr>
          </a:lstStyle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756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18439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400A78-DDEE-4753-A4A7-04063DF915A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2588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00.xml"/><Relationship Id="rId55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3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56" Type="http://schemas.openxmlformats.org/officeDocument/2006/relationships/theme" Target="../theme/theme3.xml"/><Relationship Id="rId8" Type="http://schemas.openxmlformats.org/officeDocument/2006/relationships/slideLayout" Target="../slideLayouts/slideLayout58.xml"/><Relationship Id="rId51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Relationship Id="rId54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99.xml"/><Relationship Id="rId57" Type="http://schemas.openxmlformats.org/officeDocument/2006/relationships/tags" Target="../tags/tag1.xml"/><Relationship Id="rId10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52" Type="http://schemas.openxmlformats.org/officeDocument/2006/relationships/slideLayout" Target="../slideLayouts/slideLayout10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F8E8DB-893F-B823-D411-EA6C525E7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BE2455-1663-FAB7-CA4A-C88AA7BAC2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B10C9-58F8-324D-BDA9-1A20766E33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798011-31F4-4EF1-85E4-93E8EACB8950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BA816C-59F1-85B0-15D2-45379A7506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7B677E-9767-0A6C-9299-C3F5D2EBA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855F95-DE45-459A-A463-B648E478B7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005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 rot="3638335">
            <a:off x="826426" y="6259066"/>
            <a:ext cx="48003" cy="479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99" y="0"/>
                </a:moveTo>
                <a:cubicBezTo>
                  <a:pt x="4843" y="0"/>
                  <a:pt x="0" y="4845"/>
                  <a:pt x="0" y="10800"/>
                </a:cubicBezTo>
                <a:cubicBezTo>
                  <a:pt x="0" y="12791"/>
                  <a:pt x="561" y="14742"/>
                  <a:pt x="1615" y="16453"/>
                </a:cubicBezTo>
                <a:cubicBezTo>
                  <a:pt x="3597" y="19674"/>
                  <a:pt x="7036" y="21600"/>
                  <a:pt x="10799" y="21600"/>
                </a:cubicBezTo>
                <a:cubicBezTo>
                  <a:pt x="14765" y="21600"/>
                  <a:pt x="18410" y="19434"/>
                  <a:pt x="20297" y="15941"/>
                </a:cubicBezTo>
                <a:cubicBezTo>
                  <a:pt x="21152" y="14373"/>
                  <a:pt x="21600" y="12599"/>
                  <a:pt x="21600" y="10800"/>
                </a:cubicBezTo>
                <a:cubicBezTo>
                  <a:pt x="21600" y="4845"/>
                  <a:pt x="16756" y="0"/>
                  <a:pt x="10799" y="0"/>
                </a:cubicBezTo>
                <a:cubicBezTo>
                  <a:pt x="10799" y="0"/>
                  <a:pt x="10799" y="0"/>
                  <a:pt x="10799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lvl="0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/>
          </a:p>
        </p:txBody>
      </p:sp>
      <p:sp>
        <p:nvSpPr>
          <p:cNvPr id="3" name="Shape 3"/>
          <p:cNvSpPr/>
          <p:nvPr/>
        </p:nvSpPr>
        <p:spPr>
          <a:xfrm rot="3638335">
            <a:off x="719515" y="6156093"/>
            <a:ext cx="184151" cy="297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60" h="21587" extrusionOk="0">
                <a:moveTo>
                  <a:pt x="15188" y="17493"/>
                </a:moveTo>
                <a:cubicBezTo>
                  <a:pt x="15118" y="17591"/>
                  <a:pt x="14962" y="17649"/>
                  <a:pt x="14799" y="17649"/>
                </a:cubicBezTo>
                <a:cubicBezTo>
                  <a:pt x="14741" y="17649"/>
                  <a:pt x="14683" y="17641"/>
                  <a:pt x="14625" y="17626"/>
                </a:cubicBezTo>
                <a:cubicBezTo>
                  <a:pt x="14410" y="17565"/>
                  <a:pt x="14315" y="17410"/>
                  <a:pt x="14413" y="17277"/>
                </a:cubicBezTo>
                <a:cubicBezTo>
                  <a:pt x="17510" y="13008"/>
                  <a:pt x="17058" y="9210"/>
                  <a:pt x="17052" y="9172"/>
                </a:cubicBezTo>
                <a:cubicBezTo>
                  <a:pt x="17033" y="9027"/>
                  <a:pt x="17208" y="8900"/>
                  <a:pt x="17443" y="8888"/>
                </a:cubicBezTo>
                <a:cubicBezTo>
                  <a:pt x="17688" y="8875"/>
                  <a:pt x="17884" y="8985"/>
                  <a:pt x="17903" y="9129"/>
                </a:cubicBezTo>
                <a:cubicBezTo>
                  <a:pt x="17923" y="9289"/>
                  <a:pt x="18377" y="13101"/>
                  <a:pt x="15188" y="17493"/>
                </a:cubicBezTo>
                <a:cubicBezTo>
                  <a:pt x="15188" y="17493"/>
                  <a:pt x="15188" y="17493"/>
                  <a:pt x="15188" y="17493"/>
                </a:cubicBezTo>
                <a:close/>
                <a:moveTo>
                  <a:pt x="14015" y="8609"/>
                </a:moveTo>
                <a:cubicBezTo>
                  <a:pt x="13375" y="9340"/>
                  <a:pt x="12141" y="9795"/>
                  <a:pt x="10795" y="9795"/>
                </a:cubicBezTo>
                <a:cubicBezTo>
                  <a:pt x="9516" y="9795"/>
                  <a:pt x="8354" y="9392"/>
                  <a:pt x="7680" y="8716"/>
                </a:cubicBezTo>
                <a:cubicBezTo>
                  <a:pt x="7322" y="8356"/>
                  <a:pt x="7133" y="7945"/>
                  <a:pt x="7133" y="7527"/>
                </a:cubicBezTo>
                <a:cubicBezTo>
                  <a:pt x="7133" y="6276"/>
                  <a:pt x="8776" y="5260"/>
                  <a:pt x="10795" y="5260"/>
                </a:cubicBezTo>
                <a:cubicBezTo>
                  <a:pt x="12815" y="5260"/>
                  <a:pt x="14458" y="6276"/>
                  <a:pt x="14458" y="7527"/>
                </a:cubicBezTo>
                <a:cubicBezTo>
                  <a:pt x="14456" y="7905"/>
                  <a:pt x="14304" y="8279"/>
                  <a:pt x="14015" y="8609"/>
                </a:cubicBezTo>
                <a:cubicBezTo>
                  <a:pt x="14015" y="8609"/>
                  <a:pt x="14015" y="8609"/>
                  <a:pt x="14015" y="8609"/>
                </a:cubicBezTo>
                <a:close/>
                <a:moveTo>
                  <a:pt x="21482" y="14719"/>
                </a:moveTo>
                <a:cubicBezTo>
                  <a:pt x="20904" y="14216"/>
                  <a:pt x="20284" y="13759"/>
                  <a:pt x="19633" y="13358"/>
                </a:cubicBezTo>
                <a:cubicBezTo>
                  <a:pt x="19943" y="12452"/>
                  <a:pt x="20099" y="11529"/>
                  <a:pt x="20099" y="10610"/>
                </a:cubicBezTo>
                <a:cubicBezTo>
                  <a:pt x="20099" y="6248"/>
                  <a:pt x="16619" y="2198"/>
                  <a:pt x="11020" y="40"/>
                </a:cubicBezTo>
                <a:cubicBezTo>
                  <a:pt x="10883" y="-13"/>
                  <a:pt x="10708" y="-13"/>
                  <a:pt x="10569" y="40"/>
                </a:cubicBezTo>
                <a:cubicBezTo>
                  <a:pt x="4968" y="2198"/>
                  <a:pt x="1490" y="6249"/>
                  <a:pt x="1490" y="10610"/>
                </a:cubicBezTo>
                <a:cubicBezTo>
                  <a:pt x="1490" y="11502"/>
                  <a:pt x="1638" y="12398"/>
                  <a:pt x="1927" y="13276"/>
                </a:cubicBezTo>
                <a:cubicBezTo>
                  <a:pt x="1278" y="13678"/>
                  <a:pt x="656" y="14134"/>
                  <a:pt x="80" y="14638"/>
                </a:cubicBezTo>
                <a:cubicBezTo>
                  <a:pt x="3" y="14704"/>
                  <a:pt x="-20" y="14789"/>
                  <a:pt x="20" y="14867"/>
                </a:cubicBezTo>
                <a:lnTo>
                  <a:pt x="3179" y="21319"/>
                </a:lnTo>
                <a:cubicBezTo>
                  <a:pt x="3223" y="21412"/>
                  <a:pt x="3347" y="21481"/>
                  <a:pt x="3501" y="21499"/>
                </a:cubicBezTo>
                <a:cubicBezTo>
                  <a:pt x="3655" y="21519"/>
                  <a:pt x="3813" y="21484"/>
                  <a:pt x="3913" y="21409"/>
                </a:cubicBezTo>
                <a:cubicBezTo>
                  <a:pt x="4810" y="20742"/>
                  <a:pt x="6055" y="20219"/>
                  <a:pt x="7466" y="19912"/>
                </a:cubicBezTo>
                <a:lnTo>
                  <a:pt x="7466" y="20313"/>
                </a:lnTo>
                <a:cubicBezTo>
                  <a:pt x="7466" y="20458"/>
                  <a:pt x="7657" y="20577"/>
                  <a:pt x="7892" y="20577"/>
                </a:cubicBezTo>
                <a:lnTo>
                  <a:pt x="13670" y="20577"/>
                </a:lnTo>
                <a:cubicBezTo>
                  <a:pt x="13905" y="20577"/>
                  <a:pt x="14094" y="20458"/>
                  <a:pt x="14094" y="20313"/>
                </a:cubicBezTo>
                <a:lnTo>
                  <a:pt x="14094" y="19994"/>
                </a:lnTo>
                <a:cubicBezTo>
                  <a:pt x="15507" y="20300"/>
                  <a:pt x="16752" y="20824"/>
                  <a:pt x="17649" y="21492"/>
                </a:cubicBezTo>
                <a:cubicBezTo>
                  <a:pt x="17730" y="21552"/>
                  <a:pt x="17851" y="21587"/>
                  <a:pt x="17975" y="21587"/>
                </a:cubicBezTo>
                <a:cubicBezTo>
                  <a:pt x="18003" y="21587"/>
                  <a:pt x="18034" y="21586"/>
                  <a:pt x="18061" y="21582"/>
                </a:cubicBezTo>
                <a:cubicBezTo>
                  <a:pt x="18213" y="21563"/>
                  <a:pt x="18337" y="21493"/>
                  <a:pt x="18383" y="21399"/>
                </a:cubicBezTo>
                <a:lnTo>
                  <a:pt x="21543" y="14947"/>
                </a:lnTo>
                <a:cubicBezTo>
                  <a:pt x="21580" y="14870"/>
                  <a:pt x="21557" y="14786"/>
                  <a:pt x="21482" y="14719"/>
                </a:cubicBezTo>
                <a:cubicBezTo>
                  <a:pt x="21482" y="14719"/>
                  <a:pt x="21482" y="14719"/>
                  <a:pt x="21482" y="14719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lvl="0" defTabSz="228600">
              <a:defRPr sz="3000">
                <a:solidFill>
                  <a:srgbClr val="E8C895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/>
          </a:p>
        </p:txBody>
      </p:sp>
      <p:sp>
        <p:nvSpPr>
          <p:cNvPr id="4" name="Shape 4"/>
          <p:cNvSpPr/>
          <p:nvPr/>
        </p:nvSpPr>
        <p:spPr>
          <a:xfrm rot="3638335">
            <a:off x="606897" y="6317348"/>
            <a:ext cx="7302" cy="1543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70" y="0"/>
                </a:moveTo>
                <a:cubicBezTo>
                  <a:pt x="4798" y="0"/>
                  <a:pt x="0" y="966"/>
                  <a:pt x="0" y="2176"/>
                </a:cubicBezTo>
                <a:lnTo>
                  <a:pt x="0" y="19435"/>
                </a:lnTo>
                <a:cubicBezTo>
                  <a:pt x="0" y="20634"/>
                  <a:pt x="4798" y="21600"/>
                  <a:pt x="10770" y="21600"/>
                </a:cubicBezTo>
                <a:cubicBezTo>
                  <a:pt x="16789" y="21600"/>
                  <a:pt x="21600" y="20634"/>
                  <a:pt x="21600" y="19435"/>
                </a:cubicBezTo>
                <a:lnTo>
                  <a:pt x="21600" y="2176"/>
                </a:lnTo>
                <a:cubicBezTo>
                  <a:pt x="21600" y="966"/>
                  <a:pt x="16736" y="0"/>
                  <a:pt x="10770" y="0"/>
                </a:cubicBezTo>
                <a:cubicBezTo>
                  <a:pt x="10770" y="0"/>
                  <a:pt x="10770" y="0"/>
                  <a:pt x="10770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lvl="0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/>
          </a:p>
        </p:txBody>
      </p:sp>
      <p:sp>
        <p:nvSpPr>
          <p:cNvPr id="5" name="Shape 5"/>
          <p:cNvSpPr/>
          <p:nvPr/>
        </p:nvSpPr>
        <p:spPr>
          <a:xfrm rot="3638335">
            <a:off x="575360" y="6310521"/>
            <a:ext cx="7302" cy="2490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8" h="21600" extrusionOk="0">
                <a:moveTo>
                  <a:pt x="10803" y="0"/>
                </a:moveTo>
                <a:cubicBezTo>
                  <a:pt x="4799" y="0"/>
                  <a:pt x="0" y="599"/>
                  <a:pt x="0" y="1348"/>
                </a:cubicBezTo>
                <a:lnTo>
                  <a:pt x="0" y="20252"/>
                </a:lnTo>
                <a:cubicBezTo>
                  <a:pt x="0" y="20995"/>
                  <a:pt x="4799" y="21600"/>
                  <a:pt x="10803" y="21600"/>
                </a:cubicBezTo>
                <a:cubicBezTo>
                  <a:pt x="16755" y="21600"/>
                  <a:pt x="21547" y="20995"/>
                  <a:pt x="21547" y="20252"/>
                </a:cubicBezTo>
                <a:lnTo>
                  <a:pt x="21547" y="1348"/>
                </a:lnTo>
                <a:cubicBezTo>
                  <a:pt x="21600" y="599"/>
                  <a:pt x="16755" y="0"/>
                  <a:pt x="10803" y="0"/>
                </a:cubicBezTo>
                <a:cubicBezTo>
                  <a:pt x="10803" y="0"/>
                  <a:pt x="10803" y="0"/>
                  <a:pt x="10803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lvl="0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/>
          </a:p>
        </p:txBody>
      </p:sp>
      <p:sp>
        <p:nvSpPr>
          <p:cNvPr id="6" name="Shape 6"/>
          <p:cNvSpPr/>
          <p:nvPr/>
        </p:nvSpPr>
        <p:spPr>
          <a:xfrm rot="3638335">
            <a:off x="627058" y="6353184"/>
            <a:ext cx="7300" cy="1543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26" y="0"/>
                </a:moveTo>
                <a:cubicBezTo>
                  <a:pt x="4806" y="0"/>
                  <a:pt x="0" y="966"/>
                  <a:pt x="0" y="2176"/>
                </a:cubicBezTo>
                <a:lnTo>
                  <a:pt x="0" y="19435"/>
                </a:lnTo>
                <a:cubicBezTo>
                  <a:pt x="0" y="20634"/>
                  <a:pt x="4806" y="21600"/>
                  <a:pt x="10826" y="21600"/>
                </a:cubicBezTo>
                <a:cubicBezTo>
                  <a:pt x="16794" y="21600"/>
                  <a:pt x="21600" y="20634"/>
                  <a:pt x="21600" y="19435"/>
                </a:cubicBezTo>
                <a:lnTo>
                  <a:pt x="21600" y="2176"/>
                </a:lnTo>
                <a:cubicBezTo>
                  <a:pt x="21600" y="966"/>
                  <a:pt x="16794" y="0"/>
                  <a:pt x="10826" y="0"/>
                </a:cubicBezTo>
                <a:cubicBezTo>
                  <a:pt x="10826" y="0"/>
                  <a:pt x="10826" y="0"/>
                  <a:pt x="10826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lvl="0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500"/>
          </a:p>
        </p:txBody>
      </p:sp>
      <p:sp>
        <p:nvSpPr>
          <p:cNvPr id="7" name="Shape 7"/>
          <p:cNvSpPr/>
          <p:nvPr/>
        </p:nvSpPr>
        <p:spPr>
          <a:xfrm>
            <a:off x="939215" y="6283068"/>
            <a:ext cx="532197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32323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200">
                <a:solidFill>
                  <a:srgbClr val="232323"/>
                </a:solidFill>
              </a:rPr>
              <a:t>SANTE</a:t>
            </a:r>
          </a:p>
        </p:txBody>
      </p:sp>
      <p:sp>
        <p:nvSpPr>
          <p:cNvPr id="8" name="Shape 8"/>
          <p:cNvSpPr/>
          <p:nvPr/>
        </p:nvSpPr>
        <p:spPr>
          <a:xfrm>
            <a:off x="11366500" y="368300"/>
            <a:ext cx="387350" cy="387350"/>
          </a:xfrm>
          <a:prstGeom prst="roundRect">
            <a:avLst>
              <a:gd name="adj" fmla="val 19663"/>
            </a:avLst>
          </a:pr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/>
          </a:p>
        </p:txBody>
      </p:sp>
      <p:sp>
        <p:nvSpPr>
          <p:cNvPr id="10" name="Shape 10"/>
          <p:cNvSpPr/>
          <p:nvPr/>
        </p:nvSpPr>
        <p:spPr>
          <a:xfrm flipV="1">
            <a:off x="-208875" y="1612459"/>
            <a:ext cx="12436938" cy="206"/>
          </a:xfrm>
          <a:prstGeom prst="line">
            <a:avLst/>
          </a:prstGeom>
          <a:ln w="25400">
            <a:solidFill>
              <a:srgbClr val="C0C0C0">
                <a:alpha val="2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/>
          </a:p>
        </p:txBody>
      </p:sp>
      <p:sp>
        <p:nvSpPr>
          <p:cNvPr id="1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652284" y="6346567"/>
            <a:ext cx="29604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algn="r">
              <a:defRPr lang="en-US" sz="1200" smtClean="0">
                <a:solidFill>
                  <a:srgbClr val="1A1A1A"/>
                </a:solidFill>
                <a:latin typeface="Montserrat-Regular" charset="0"/>
                <a:ea typeface="ＭＳ Ｐゴシック" charset="0"/>
                <a:cs typeface="Montserrat-Regular" charset="0"/>
                <a:sym typeface="Montserrat-Regular" charset="0"/>
              </a:defRPr>
            </a:lvl1pPr>
          </a:lstStyle>
          <a:p>
            <a:r>
              <a:rPr lang="en-US" dirty="0"/>
              <a:t>Santecorp.com</a:t>
            </a:r>
          </a:p>
        </p:txBody>
      </p:sp>
    </p:spTree>
    <p:extLst>
      <p:ext uri="{BB962C8B-B14F-4D97-AF65-F5344CB8AC3E}">
        <p14:creationId xmlns:p14="http://schemas.microsoft.com/office/powerpoint/2010/main" val="3737174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dt="0"/>
  <p:txStyles>
    <p:titleStyle>
      <a:lvl1pPr algn="ctr" defTabSz="412750">
        <a:defRPr sz="5800">
          <a:latin typeface="+mn-lt"/>
          <a:ea typeface="+mn-ea"/>
          <a:cs typeface="+mn-cs"/>
          <a:sym typeface="Gill Sans"/>
        </a:defRPr>
      </a:lvl1pPr>
      <a:lvl2pPr indent="114300" algn="ctr" defTabSz="412750">
        <a:defRPr sz="5800">
          <a:latin typeface="+mn-lt"/>
          <a:ea typeface="+mn-ea"/>
          <a:cs typeface="+mn-cs"/>
          <a:sym typeface="Gill Sans"/>
        </a:defRPr>
      </a:lvl2pPr>
      <a:lvl3pPr indent="228600" algn="ctr" defTabSz="412750">
        <a:defRPr sz="5800">
          <a:latin typeface="+mn-lt"/>
          <a:ea typeface="+mn-ea"/>
          <a:cs typeface="+mn-cs"/>
          <a:sym typeface="Gill Sans"/>
        </a:defRPr>
      </a:lvl3pPr>
      <a:lvl4pPr indent="342900" algn="ctr" defTabSz="412750">
        <a:defRPr sz="5800">
          <a:latin typeface="+mn-lt"/>
          <a:ea typeface="+mn-ea"/>
          <a:cs typeface="+mn-cs"/>
          <a:sym typeface="Gill Sans"/>
        </a:defRPr>
      </a:lvl4pPr>
      <a:lvl5pPr indent="457200" algn="ctr" defTabSz="412750">
        <a:defRPr sz="5800">
          <a:latin typeface="+mn-lt"/>
          <a:ea typeface="+mn-ea"/>
          <a:cs typeface="+mn-cs"/>
          <a:sym typeface="Gill Sans"/>
        </a:defRPr>
      </a:lvl5pPr>
      <a:lvl6pPr indent="571500" algn="ctr" defTabSz="412750">
        <a:defRPr sz="5800">
          <a:latin typeface="+mn-lt"/>
          <a:ea typeface="+mn-ea"/>
          <a:cs typeface="+mn-cs"/>
          <a:sym typeface="Gill Sans"/>
        </a:defRPr>
      </a:lvl6pPr>
      <a:lvl7pPr indent="685800" algn="ctr" defTabSz="412750">
        <a:defRPr sz="5800">
          <a:latin typeface="+mn-lt"/>
          <a:ea typeface="+mn-ea"/>
          <a:cs typeface="+mn-cs"/>
          <a:sym typeface="Gill Sans"/>
        </a:defRPr>
      </a:lvl7pPr>
      <a:lvl8pPr indent="800100" algn="ctr" defTabSz="412750">
        <a:defRPr sz="5800">
          <a:latin typeface="+mn-lt"/>
          <a:ea typeface="+mn-ea"/>
          <a:cs typeface="+mn-cs"/>
          <a:sym typeface="Gill Sans"/>
        </a:defRPr>
      </a:lvl8pPr>
      <a:lvl9pPr indent="914400" algn="ctr" defTabSz="412750">
        <a:defRPr sz="5800">
          <a:latin typeface="+mn-lt"/>
          <a:ea typeface="+mn-ea"/>
          <a:cs typeface="+mn-cs"/>
          <a:sym typeface="Gill Sans"/>
        </a:defRPr>
      </a:lvl9pPr>
    </p:titleStyle>
    <p:bodyStyle>
      <a:lvl1pPr algn="ctr" defTabSz="412750">
        <a:defRPr sz="2400">
          <a:latin typeface="+mn-lt"/>
          <a:ea typeface="+mn-ea"/>
          <a:cs typeface="+mn-cs"/>
          <a:sym typeface="Gill Sans"/>
        </a:defRPr>
      </a:lvl1pPr>
      <a:lvl2pPr algn="ctr" defTabSz="412750">
        <a:defRPr sz="2400">
          <a:latin typeface="+mn-lt"/>
          <a:ea typeface="+mn-ea"/>
          <a:cs typeface="+mn-cs"/>
          <a:sym typeface="Gill Sans"/>
        </a:defRPr>
      </a:lvl2pPr>
      <a:lvl3pPr algn="ctr" defTabSz="412750">
        <a:defRPr sz="2400">
          <a:latin typeface="+mn-lt"/>
          <a:ea typeface="+mn-ea"/>
          <a:cs typeface="+mn-cs"/>
          <a:sym typeface="Gill Sans"/>
        </a:defRPr>
      </a:lvl3pPr>
      <a:lvl4pPr algn="ctr" defTabSz="412750">
        <a:defRPr sz="2400">
          <a:latin typeface="+mn-lt"/>
          <a:ea typeface="+mn-ea"/>
          <a:cs typeface="+mn-cs"/>
          <a:sym typeface="Gill Sans"/>
        </a:defRPr>
      </a:lvl4pPr>
      <a:lvl5pPr algn="ctr" defTabSz="412750">
        <a:defRPr sz="2400">
          <a:latin typeface="+mn-lt"/>
          <a:ea typeface="+mn-ea"/>
          <a:cs typeface="+mn-cs"/>
          <a:sym typeface="Gill Sans"/>
        </a:defRPr>
      </a:lvl5pPr>
      <a:lvl6pPr indent="177800" algn="ctr" defTabSz="412750">
        <a:defRPr sz="2400">
          <a:latin typeface="+mn-lt"/>
          <a:ea typeface="+mn-ea"/>
          <a:cs typeface="+mn-cs"/>
          <a:sym typeface="Gill Sans"/>
        </a:defRPr>
      </a:lvl6pPr>
      <a:lvl7pPr indent="355600" algn="ctr" defTabSz="412750">
        <a:defRPr sz="2400">
          <a:latin typeface="+mn-lt"/>
          <a:ea typeface="+mn-ea"/>
          <a:cs typeface="+mn-cs"/>
          <a:sym typeface="Gill Sans"/>
        </a:defRPr>
      </a:lvl7pPr>
      <a:lvl8pPr indent="533400" algn="ctr" defTabSz="412750">
        <a:defRPr sz="2400">
          <a:latin typeface="+mn-lt"/>
          <a:ea typeface="+mn-ea"/>
          <a:cs typeface="+mn-cs"/>
          <a:sym typeface="Gill Sans"/>
        </a:defRPr>
      </a:lvl8pPr>
      <a:lvl9pPr indent="711200" algn="ctr" defTabSz="412750">
        <a:defRPr sz="2400">
          <a:latin typeface="+mn-lt"/>
          <a:ea typeface="+mn-ea"/>
          <a:cs typeface="+mn-cs"/>
          <a:sym typeface="Gill Sans"/>
        </a:defRPr>
      </a:lvl9pPr>
    </p:bodyStyle>
    <p:otherStyle>
      <a:lvl1pPr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1pPr>
      <a:lvl2pPr indent="1143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2pPr>
      <a:lvl3pPr indent="2286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3pPr>
      <a:lvl4pPr indent="3429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4pPr>
      <a:lvl5pPr indent="4572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5pPr>
      <a:lvl6pPr indent="5715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6pPr>
      <a:lvl7pPr indent="6858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7pPr>
      <a:lvl8pPr indent="8001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8pPr>
      <a:lvl9pPr indent="914400" algn="ctr" defTabSz="412750">
        <a:defRPr sz="1200">
          <a:solidFill>
            <a:schemeClr val="tx1"/>
          </a:solidFill>
          <a:latin typeface="+mn-lt"/>
          <a:ea typeface="+mn-ea"/>
          <a:cs typeface="+mn-cs"/>
          <a:sym typeface="Gill San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 txBox="1">
            <a:spLocks/>
          </p:cNvSpPr>
          <p:nvPr userDrawn="1">
            <p:custDataLst>
              <p:tags r:id="rId57"/>
            </p:custDataLst>
          </p:nvPr>
        </p:nvSpPr>
        <p:spPr>
          <a:xfrm>
            <a:off x="8291952" y="6401198"/>
            <a:ext cx="3257317" cy="262601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spc="300" dirty="0">
                <a:solidFill>
                  <a:schemeClr val="bg1">
                    <a:lumMod val="50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Open Sans Light" panose="020B0306030504020204" pitchFamily="34" charset="0"/>
              </a:rPr>
              <a:t>www.yourcompanyname.com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8482053" y="6448081"/>
            <a:ext cx="224083" cy="221156"/>
            <a:chOff x="4328868" y="5502988"/>
            <a:chExt cx="500307" cy="493774"/>
          </a:xfrm>
        </p:grpSpPr>
        <p:sp>
          <p:nvSpPr>
            <p:cNvPr id="19" name="Freeform 18">
              <a:hlinkClick r:id="" action="ppaction://hlinkshowjump?jump=previousslide"/>
            </p:cNvPr>
            <p:cNvSpPr>
              <a:spLocks/>
            </p:cNvSpPr>
            <p:nvPr userDrawn="1"/>
          </p:nvSpPr>
          <p:spPr bwMode="auto">
            <a:xfrm>
              <a:off x="4520555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800"/>
            </a:p>
          </p:txBody>
        </p:sp>
        <p:sp>
          <p:nvSpPr>
            <p:cNvPr id="20" name="Freeform 19">
              <a:hlinkClick r:id="" action="ppaction://hlinkshowjump?jump=previous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800"/>
            </a:p>
          </p:txBody>
        </p:sp>
      </p:grpSp>
      <p:grpSp>
        <p:nvGrpSpPr>
          <p:cNvPr id="21" name="Group 20"/>
          <p:cNvGrpSpPr/>
          <p:nvPr userDrawn="1"/>
        </p:nvGrpSpPr>
        <p:grpSpPr>
          <a:xfrm flipH="1">
            <a:off x="11661566" y="6403238"/>
            <a:ext cx="224083" cy="221156"/>
            <a:chOff x="4328868" y="5502988"/>
            <a:chExt cx="500307" cy="493774"/>
          </a:xfrm>
        </p:grpSpPr>
        <p:sp>
          <p:nvSpPr>
            <p:cNvPr id="22" name="Freeform 21">
              <a:hlinkClick r:id="" action="ppaction://hlinkshowjump?jump=nextslide"/>
            </p:cNvPr>
            <p:cNvSpPr>
              <a:spLocks/>
            </p:cNvSpPr>
            <p:nvPr userDrawn="1"/>
          </p:nvSpPr>
          <p:spPr bwMode="auto">
            <a:xfrm>
              <a:off x="4520556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800"/>
            </a:p>
          </p:txBody>
        </p:sp>
        <p:sp>
          <p:nvSpPr>
            <p:cNvPr id="23" name="Freeform 22">
              <a:hlinkClick r:id="" action="ppaction://hlinkshowjump?jump=next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 sz="1800"/>
            </a:p>
          </p:txBody>
        </p:sp>
      </p:grpSp>
      <p:sp>
        <p:nvSpPr>
          <p:cNvPr id="13" name="Pentagon 12"/>
          <p:cNvSpPr/>
          <p:nvPr userDrawn="1"/>
        </p:nvSpPr>
        <p:spPr>
          <a:xfrm rot="5400000">
            <a:off x="11346276" y="31548"/>
            <a:ext cx="602878" cy="539787"/>
          </a:xfrm>
          <a:prstGeom prst="homePlate">
            <a:avLst>
              <a:gd name="adj" fmla="val 28177"/>
            </a:avLst>
          </a:prstGeom>
          <a:solidFill>
            <a:srgbClr val="71B7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0432" y="102817"/>
            <a:ext cx="529007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lvl1pPr algn="ctr">
              <a:defRPr lang="en-US" sz="1200" smtClean="0">
                <a:solidFill>
                  <a:schemeClr val="bg1"/>
                </a:solidFill>
                <a:latin typeface="+mj-lt"/>
                <a:ea typeface="Roboto Light" panose="02000000000000000000" pitchFamily="2" charset="0"/>
                <a:cs typeface="Arial" charset="0"/>
              </a:defRPr>
            </a:lvl1pPr>
          </a:lstStyle>
          <a:p>
            <a:pPr>
              <a:buClr>
                <a:srgbClr val="E24848"/>
              </a:buClr>
            </a:pPr>
            <a:fld id="{C1400A78-DDEE-4753-A4A7-04063DF915AF}" type="slidenum">
              <a:rPr lang="en-US" smtClean="0"/>
              <a:pPr>
                <a:buClr>
                  <a:srgbClr val="E24848"/>
                </a:buClr>
              </a:pPr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WE ARE THE LEAGUE</a:t>
            </a:r>
          </a:p>
        </p:txBody>
      </p:sp>
    </p:spTree>
    <p:extLst>
      <p:ext uri="{BB962C8B-B14F-4D97-AF65-F5344CB8AC3E}">
        <p14:creationId xmlns:p14="http://schemas.microsoft.com/office/powerpoint/2010/main" val="2078409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  <p:sldLayoutId id="2147483728" r:id="rId28"/>
    <p:sldLayoutId id="2147483729" r:id="rId29"/>
    <p:sldLayoutId id="2147483730" r:id="rId30"/>
    <p:sldLayoutId id="2147483731" r:id="rId31"/>
    <p:sldLayoutId id="2147483732" r:id="rId32"/>
    <p:sldLayoutId id="2147483733" r:id="rId33"/>
    <p:sldLayoutId id="2147483734" r:id="rId34"/>
    <p:sldLayoutId id="2147483735" r:id="rId35"/>
    <p:sldLayoutId id="2147483736" r:id="rId36"/>
    <p:sldLayoutId id="2147483737" r:id="rId37"/>
    <p:sldLayoutId id="2147483738" r:id="rId38"/>
    <p:sldLayoutId id="2147483739" r:id="rId39"/>
    <p:sldLayoutId id="2147483740" r:id="rId40"/>
    <p:sldLayoutId id="2147483741" r:id="rId41"/>
    <p:sldLayoutId id="2147483742" r:id="rId42"/>
    <p:sldLayoutId id="2147483743" r:id="rId43"/>
    <p:sldLayoutId id="2147483744" r:id="rId44"/>
    <p:sldLayoutId id="2147483745" r:id="rId45"/>
    <p:sldLayoutId id="2147483746" r:id="rId46"/>
    <p:sldLayoutId id="2147483747" r:id="rId47"/>
    <p:sldLayoutId id="2147483748" r:id="rId48"/>
    <p:sldLayoutId id="2147483749" r:id="rId49"/>
    <p:sldLayoutId id="2147483750" r:id="rId50"/>
    <p:sldLayoutId id="2147483751" r:id="rId51"/>
    <p:sldLayoutId id="2147483752" r:id="rId52"/>
    <p:sldLayoutId id="2147483753" r:id="rId53"/>
    <p:sldLayoutId id="2147483754" r:id="rId54"/>
    <p:sldLayoutId id="2147483755" r:id="rId55"/>
  </p:sldLayoutIdLst>
  <p:hf hdr="0" dt="0"/>
  <p:txStyles>
    <p:titleStyle>
      <a:lvl1pPr algn="l" defTabSz="91426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Bebas Neue Regular" panose="020B0606020202050201" pitchFamily="34" charset="0"/>
          <a:ea typeface="+mj-ea"/>
          <a:cs typeface="+mj-cs"/>
        </a:defRPr>
      </a:lvl1pPr>
    </p:titleStyle>
    <p:bodyStyle>
      <a:lvl1pPr marL="228568" indent="-228568" algn="l" defTabSz="91426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702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830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960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091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224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8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22" indent="-228568" algn="l" defTabSz="91426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2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EF8BBEA-C200-4CD5-A55E-87FB0754041A}" type="datetimeFigureOut">
              <a:rPr lang="en-US" smtClean="0"/>
              <a:t>6/13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A6516BC6-7318-42A8-912F-2CE31E25F02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9777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8.xml"/><Relationship Id="rId4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erson standing in front of a sign&#10;&#10;Description automatically generated">
            <a:extLst>
              <a:ext uri="{FF2B5EF4-FFF2-40B4-BE49-F238E27FC236}">
                <a16:creationId xmlns:a16="http://schemas.microsoft.com/office/drawing/2014/main" id="{218AEC8E-C6C7-4B28-8756-91647B6AB36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" r="-13" b="15750"/>
          <a:stretch/>
        </p:blipFill>
        <p:spPr>
          <a:xfrm>
            <a:off x="1589" y="0"/>
            <a:ext cx="12201525" cy="6858000"/>
          </a:xfrm>
        </p:spPr>
      </p:pic>
      <p:grpSp>
        <p:nvGrpSpPr>
          <p:cNvPr id="20" name="Group 20"/>
          <p:cNvGrpSpPr/>
          <p:nvPr/>
        </p:nvGrpSpPr>
        <p:grpSpPr>
          <a:xfrm>
            <a:off x="5803806" y="1046911"/>
            <a:ext cx="5924700" cy="827728"/>
            <a:chOff x="2450268" y="-5274275"/>
            <a:chExt cx="11849396" cy="1655456"/>
          </a:xfrm>
        </p:grpSpPr>
        <p:sp>
          <p:nvSpPr>
            <p:cNvPr id="18" name="Shape 18"/>
            <p:cNvSpPr/>
            <p:nvPr/>
          </p:nvSpPr>
          <p:spPr>
            <a:xfrm>
              <a:off x="2450268" y="-5274275"/>
              <a:ext cx="11849396" cy="12105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defRPr sz="7200">
                  <a:solidFill>
                    <a:srgbClr val="42A3E8"/>
                  </a:solidFill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en-US" sz="3600" b="1" i="0" u="none" strike="noStrike" kern="0" cap="none" spc="300" normalizeH="0" baseline="0" noProof="0" dirty="0">
                  <a:ln>
                    <a:noFill/>
                  </a:ln>
                  <a:solidFill>
                    <a:srgbClr val="38C3C6"/>
                  </a:solidFill>
                  <a:effectLst/>
                  <a:uLnTx/>
                  <a:uFillTx/>
                  <a:latin typeface="Lato" panose="020F0502020204030203" pitchFamily="34" charset="0"/>
                  <a:sym typeface="Montserrat-Bold"/>
                </a:rPr>
                <a:t>7 SKILLS TO BECOME A </a:t>
              </a:r>
              <a:endParaRPr kumimoji="0" sz="3600" b="1" i="0" u="none" strike="noStrike" kern="0" cap="none" spc="30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sym typeface="Montserrat-Bold"/>
              </a:endParaRPr>
            </a:p>
          </p:txBody>
        </p:sp>
        <p:sp>
          <p:nvSpPr>
            <p:cNvPr id="19" name="Shape 19"/>
            <p:cNvSpPr/>
            <p:nvPr/>
          </p:nvSpPr>
          <p:spPr>
            <a:xfrm>
              <a:off x="3272380" y="-4275409"/>
              <a:ext cx="9694961" cy="656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defRPr sz="2400">
                  <a:solidFill>
                    <a:srgbClr val="35414C"/>
                  </a:solidFill>
                  <a:latin typeface="Open Sans"/>
                  <a:ea typeface="Open Sans"/>
                  <a:cs typeface="Open Sans"/>
                  <a:sym typeface="Open Sans"/>
                </a:defRPr>
              </a:lvl1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en-US" sz="1800" b="1" i="0" u="none" strike="noStrike" kern="0" cap="none" spc="15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ROFESSIONAL NETWORK MARKETER</a:t>
              </a:r>
              <a:endParaRPr kumimoji="0" sz="1800" b="1" i="0" u="none" strike="noStrike" kern="0" cap="none" spc="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22" name="Shape 22"/>
          <p:cNvSpPr/>
          <p:nvPr/>
        </p:nvSpPr>
        <p:spPr>
          <a:xfrm flipH="1">
            <a:off x="6089650" y="4715502"/>
            <a:ext cx="1" cy="2259071"/>
          </a:xfrm>
          <a:prstGeom prst="line">
            <a:avLst/>
          </a:prstGeom>
          <a:ln w="25400">
            <a:solidFill>
              <a:srgbClr val="42505D"/>
            </a:solidFill>
            <a:miter lim="400000"/>
            <a:headEnd type="oval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7FCFD-EB3C-45F4-AE9B-EF20C31657A1}"/>
              </a:ext>
            </a:extLst>
          </p:cNvPr>
          <p:cNvSpPr txBox="1"/>
          <p:nvPr/>
        </p:nvSpPr>
        <p:spPr>
          <a:xfrm flipH="1">
            <a:off x="8356699" y="749393"/>
            <a:ext cx="3904904" cy="29751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l Sans"/>
                <a:sym typeface="Gill Sans"/>
              </a:rPr>
              <a:t>A PlanNet Marketing Training</a:t>
            </a:r>
          </a:p>
        </p:txBody>
      </p:sp>
      <p:sp>
        <p:nvSpPr>
          <p:cNvPr id="9" name="Double Brace 8">
            <a:extLst>
              <a:ext uri="{FF2B5EF4-FFF2-40B4-BE49-F238E27FC236}">
                <a16:creationId xmlns:a16="http://schemas.microsoft.com/office/drawing/2014/main" id="{9DE5E293-8BE6-4AC5-9E62-020CA00E5E61}"/>
              </a:ext>
            </a:extLst>
          </p:cNvPr>
          <p:cNvSpPr/>
          <p:nvPr/>
        </p:nvSpPr>
        <p:spPr>
          <a:xfrm>
            <a:off x="8104909" y="1931195"/>
            <a:ext cx="3532511" cy="932067"/>
          </a:xfrm>
          <a:prstGeom prst="bracePair">
            <a:avLst/>
          </a:prstGeom>
          <a:ln>
            <a:solidFill>
              <a:srgbClr val="38C3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1" vertOverflow="overflow" horzOverflow="overflow" vert="horz" wrap="square" lIns="45720" tIns="22860" rIns="45720" bIns="22860" numCol="1" spcCol="38100" rtlCol="0" anchor="t">
            <a:noAutofit/>
          </a:bodyPr>
          <a:lstStyle/>
          <a:p>
            <a:pPr marL="0" marR="0" lvl="0" indent="0" algn="l" defTabSz="4572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00CC00"/>
              </a:solidFill>
              <a:effectLst/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1882C7-B9C1-4485-8B20-6F8CDF02A131}"/>
              </a:ext>
            </a:extLst>
          </p:cNvPr>
          <p:cNvSpPr txBox="1"/>
          <p:nvPr/>
        </p:nvSpPr>
        <p:spPr>
          <a:xfrm>
            <a:off x="8214014" y="1910780"/>
            <a:ext cx="3314302" cy="106695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sym typeface="Gill Sans"/>
              </a:rPr>
              <a:t>Skill #5: Helping Prospects</a:t>
            </a:r>
          </a:p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sym typeface="Gill Sans"/>
              </a:rPr>
              <a:t>To Become Business </a:t>
            </a:r>
          </a:p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sym typeface="Gill Sans"/>
              </a:rPr>
              <a:t>Partner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BB36A1-DBC9-4B54-A960-4B28062AB5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91109" y="177113"/>
            <a:ext cx="99387" cy="207749"/>
          </a:xfrm>
        </p:spPr>
        <p:txBody>
          <a:bodyPr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Bold" charset="0"/>
                <a:ea typeface="ＭＳ Ｐゴシック" charset="0"/>
                <a:cs typeface="Open Sans Bold" charset="0"/>
                <a:sym typeface="Gill Sans"/>
              </a:rPr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 charset="0"/>
              <a:ea typeface="ＭＳ Ｐゴシック" charset="0"/>
              <a:cs typeface="Open Sans Bold" charset="0"/>
              <a:sym typeface="Gill Sans"/>
            </a:endParaRPr>
          </a:p>
        </p:txBody>
      </p:sp>
      <p:sp>
        <p:nvSpPr>
          <p:cNvPr id="11" name="Shape 29">
            <a:extLst>
              <a:ext uri="{FF2B5EF4-FFF2-40B4-BE49-F238E27FC236}">
                <a16:creationId xmlns:a16="http://schemas.microsoft.com/office/drawing/2014/main" id="{FD4F5065-462F-482F-AA06-A04D3CD6A3E5}"/>
              </a:ext>
            </a:extLst>
          </p:cNvPr>
          <p:cNvSpPr/>
          <p:nvPr/>
        </p:nvSpPr>
        <p:spPr>
          <a:xfrm>
            <a:off x="443372" y="394684"/>
            <a:ext cx="10742079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700">
                <a:solidFill>
                  <a:srgbClr val="748A9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THE PRO’S CLOSE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rgbClr val="38C3C6"/>
              </a:solidFill>
              <a:effectLst/>
              <a:uLnTx/>
              <a:uFillTx/>
              <a:latin typeface="Lato" panose="020F0502020204030203" pitchFamily="34" charset="0"/>
              <a:ea typeface="Segoe UI" panose="020B0502040204020203" pitchFamily="34" charset="0"/>
              <a:cs typeface="Segoe UI" panose="020B0502040204020203" pitchFamily="34" charset="0"/>
              <a:sym typeface="linecon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67B8C31-C758-46DF-903F-526EEBC1ECA8}"/>
              </a:ext>
            </a:extLst>
          </p:cNvPr>
          <p:cNvSpPr/>
          <p:nvPr/>
        </p:nvSpPr>
        <p:spPr>
          <a:xfrm>
            <a:off x="540354" y="1348800"/>
            <a:ext cx="11275825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marR="0" lvl="0" indent="-57150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Emotionally detach yourself from the outcome.</a:t>
            </a:r>
          </a:p>
          <a:p>
            <a:pPr marL="571500" marR="0" lvl="0" indent="-57150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Be assumptive in your approach.</a:t>
            </a:r>
          </a:p>
          <a:p>
            <a:pPr marL="571500" marR="0" lvl="0" indent="-57150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Promote yourself…You get ME! </a:t>
            </a:r>
            <a:r>
              <a:rPr kumimoji="0" lang="en-US" sz="2400" b="1" i="1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They need to know that you will support them</a:t>
            </a:r>
            <a:r>
              <a:rPr kumimoji="0" lang="en-US" sz="2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.</a:t>
            </a:r>
          </a:p>
          <a:p>
            <a:pPr marL="571500" marR="0" lvl="0" indent="-57150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Be prepared.</a:t>
            </a:r>
          </a:p>
          <a:p>
            <a:pPr marL="571500" marR="0" lvl="0" indent="-57150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Let questions be your most POWERFUL tool:</a:t>
            </a:r>
          </a:p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	</a:t>
            </a:r>
            <a:r>
              <a:rPr kumimoji="0" lang="en-US" sz="2400" b="1" i="1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	- </a:t>
            </a: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Did it make sense to you?</a:t>
            </a:r>
          </a:p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		- What did you like best?</a:t>
            </a:r>
          </a:p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linecons"/>
              </a:rPr>
              <a:t>		- Pretty exciting, isn’t it?</a:t>
            </a:r>
          </a:p>
          <a:p>
            <a:pPr marL="0" marR="0" lvl="0" indent="0" algn="l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Gill Sans"/>
              </a:rPr>
              <a:t>		- Can you see how this could be an opportunity for you?</a:t>
            </a:r>
            <a:endParaRPr kumimoji="0" lang="en-US" sz="2000" b="1" i="1" u="none" strike="noStrike" kern="0" cap="none" spc="0" normalizeH="0" baseline="0" noProof="0" dirty="0">
              <a:ln>
                <a:noFill/>
              </a:ln>
              <a:solidFill>
                <a:srgbClr val="2F3F4A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linecons"/>
            </a:endParaRPr>
          </a:p>
        </p:txBody>
      </p:sp>
    </p:spTree>
    <p:extLst>
      <p:ext uri="{BB962C8B-B14F-4D97-AF65-F5344CB8AC3E}">
        <p14:creationId xmlns:p14="http://schemas.microsoft.com/office/powerpoint/2010/main" val="379582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pair, wooden, sitting, table&#10;&#10;Description automatically generated">
            <a:extLst>
              <a:ext uri="{FF2B5EF4-FFF2-40B4-BE49-F238E27FC236}">
                <a16:creationId xmlns:a16="http://schemas.microsoft.com/office/drawing/2014/main" id="{4421749A-7713-47E9-8F90-4B86CBA4CD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341612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2861A3-621B-4FE1-9D8E-83E1993BD38C}"/>
              </a:ext>
            </a:extLst>
          </p:cNvPr>
          <p:cNvSpPr txBox="1"/>
          <p:nvPr/>
        </p:nvSpPr>
        <p:spPr>
          <a:xfrm>
            <a:off x="6573248" y="390071"/>
            <a:ext cx="501091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he key to success is a combination of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3112DE-5951-4A90-BB05-513BB4451B85}"/>
              </a:ext>
            </a:extLst>
          </p:cNvPr>
          <p:cNvSpPr txBox="1"/>
          <p:nvPr/>
        </p:nvSpPr>
        <p:spPr>
          <a:xfrm>
            <a:off x="6757416" y="1990509"/>
            <a:ext cx="501091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otionally detach yourself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rom the outcom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ing good posture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– Your words and your actions.  Posture is your stance, your disposition, </a:t>
            </a:r>
            <a:r>
              <a:rPr lang="en-US" sz="2400" dirty="0">
                <a:solidFill>
                  <a:prstClr val="black"/>
                </a:solidFill>
                <a:latin typeface="Tw Cen MT" panose="020B0602020104020603"/>
              </a:rPr>
              <a:t>y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ur ability to project confidence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sking good questions –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aking on the role of a consultant. You are there to advise and consult.  Asking the right questions leading them to the decision to do what is in their best intere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1206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9AA72BD9-2C5A-4EDC-931F-5AA08EACA0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8374C9-1DF5-4EBF-9854-4FD12AE62C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76" b="9091"/>
          <a:stretch/>
        </p:blipFill>
        <p:spPr>
          <a:xfrm>
            <a:off x="3523488" y="10"/>
            <a:ext cx="8668512" cy="685799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DD3981AC-7B61-4947-BCF3-F7AA7FA38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A5D9D0-B254-42B6-A005-D14CF7A6C71F}"/>
              </a:ext>
            </a:extLst>
          </p:cNvPr>
          <p:cNvSpPr txBox="1"/>
          <p:nvPr/>
        </p:nvSpPr>
        <p:spPr>
          <a:xfrm>
            <a:off x="1440158" y="234315"/>
            <a:ext cx="3438144" cy="112471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ATEU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71FF66B-E049-4A3A-9801-626439B2E885}"/>
              </a:ext>
            </a:extLst>
          </p:cNvPr>
          <p:cNvSpPr txBox="1"/>
          <p:nvPr/>
        </p:nvSpPr>
        <p:spPr>
          <a:xfrm>
            <a:off x="371094" y="2627377"/>
            <a:ext cx="4507208" cy="3996307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needy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otionally attached to prospects response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e across as desperate and pushy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trying to get them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umption that they are not going to be interested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properly prepared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 a lack of belief and professionalism.</a:t>
            </a:r>
          </a:p>
        </p:txBody>
      </p:sp>
    </p:spTree>
    <p:extLst>
      <p:ext uri="{BB962C8B-B14F-4D97-AF65-F5344CB8AC3E}">
        <p14:creationId xmlns:p14="http://schemas.microsoft.com/office/powerpoint/2010/main" val="1735274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8374C9-1DF5-4EBF-9854-4FD12AE62CE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07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3EA191B-40FA-4202-9D1B-A986B0681D14}"/>
              </a:ext>
            </a:extLst>
          </p:cNvPr>
          <p:cNvSpPr txBox="1"/>
          <p:nvPr/>
        </p:nvSpPr>
        <p:spPr>
          <a:xfrm>
            <a:off x="556181" y="533952"/>
            <a:ext cx="44500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SION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89F99F-EE57-44EC-BB9D-A307D60BC0D8}"/>
              </a:ext>
            </a:extLst>
          </p:cNvPr>
          <p:cNvSpPr txBox="1"/>
          <p:nvPr/>
        </p:nvSpPr>
        <p:spPr>
          <a:xfrm>
            <a:off x="556181" y="1353142"/>
            <a:ext cx="478881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ng posture you realize you have the opportunit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emotionally detached from the outcome. {Yes or No}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r Goal is educ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not trying to get anyone, you are attempting to HELP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very assumptive that they will move forwar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re always prepared. You have everything they need to get start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ask question after question, after question.</a:t>
            </a:r>
          </a:p>
        </p:txBody>
      </p:sp>
    </p:spTree>
    <p:extLst>
      <p:ext uri="{BB962C8B-B14F-4D97-AF65-F5344CB8AC3E}">
        <p14:creationId xmlns:p14="http://schemas.microsoft.com/office/powerpoint/2010/main" val="17968351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, person, table, indoor&#10;&#10;Description automatically generated">
            <a:extLst>
              <a:ext uri="{FF2B5EF4-FFF2-40B4-BE49-F238E27FC236}">
                <a16:creationId xmlns:a16="http://schemas.microsoft.com/office/drawing/2014/main" id="{C1796CE7-C6A1-4E69-925B-349A65B3B33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t="23391" r="8486"/>
          <a:stretch/>
        </p:blipFill>
        <p:spPr>
          <a:xfrm>
            <a:off x="20" y="0"/>
            <a:ext cx="12191980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B1D4F77-A17C-43D7-B7FA-545148E4E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4332307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06EA5C3-049C-4B72-A77D-D1B7CE4AB60D}"/>
              </a:ext>
            </a:extLst>
          </p:cNvPr>
          <p:cNvSpPr txBox="1"/>
          <p:nvPr/>
        </p:nvSpPr>
        <p:spPr>
          <a:xfrm>
            <a:off x="623416" y="78551"/>
            <a:ext cx="3759240" cy="1344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EING A CONSULTA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E27A1B-EC87-4DF6-97EE-C213AB12B310}"/>
              </a:ext>
            </a:extLst>
          </p:cNvPr>
          <p:cNvSpPr txBox="1"/>
          <p:nvPr/>
        </p:nvSpPr>
        <p:spPr>
          <a:xfrm>
            <a:off x="416728" y="1249388"/>
            <a:ext cx="3764826" cy="37730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a consultant your job is to help out and advise on the best outcome or solution for them. </a:t>
            </a:r>
          </a:p>
          <a:p>
            <a:pPr marL="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k the right question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C9457F-AF06-4D72-9B56-EB2AB92F5BF4}"/>
              </a:ext>
            </a:extLst>
          </p:cNvPr>
          <p:cNvSpPr txBox="1"/>
          <p:nvPr/>
        </p:nvSpPr>
        <p:spPr>
          <a:xfrm>
            <a:off x="416728" y="3135893"/>
            <a:ext cx="4172617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d that make sense to you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did you like best about what you just saw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umptiv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 It is pretty exciting, isn’t it?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you see how this would be a total benefit for you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51372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991190E-C8A3-459C-ACDE-A14C31D7E56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07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D89CE3-BB7B-464D-86CC-96C6FA87F184}"/>
              </a:ext>
            </a:extLst>
          </p:cNvPr>
          <p:cNvSpPr txBox="1"/>
          <p:nvPr/>
        </p:nvSpPr>
        <p:spPr>
          <a:xfrm>
            <a:off x="341720" y="843477"/>
            <a:ext cx="608186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t me ask you a questio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a scale of 1 to 10, with one meaning you have zero interest and 10 being you are ready to get started right now, where are you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F9E6FA-2B94-40D4-974D-D5273C778ADB}"/>
              </a:ext>
            </a:extLst>
          </p:cNvPr>
          <p:cNvSpPr txBox="1"/>
          <p:nvPr/>
        </p:nvSpPr>
        <p:spPr>
          <a:xfrm>
            <a:off x="669302" y="3521133"/>
            <a:ext cx="5426697" cy="1659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FF994C-D4DE-48CE-9086-4C830A5D2F62}"/>
              </a:ext>
            </a:extLst>
          </p:cNvPr>
          <p:cNvSpPr txBox="1"/>
          <p:nvPr/>
        </p:nvSpPr>
        <p:spPr>
          <a:xfrm>
            <a:off x="239697" y="3772356"/>
            <a:ext cx="654377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anything other than 10 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k what would it take to move you to a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M-FAM Lead them to the next expos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612405-A696-4209-B4CA-735F24ECB95C}"/>
              </a:ext>
            </a:extLst>
          </p:cNvPr>
          <p:cNvSpPr txBox="1"/>
          <p:nvPr/>
        </p:nvSpPr>
        <p:spPr>
          <a:xfrm>
            <a:off x="239697" y="124287"/>
            <a:ext cx="59657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SKING GOOD QUESTION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8950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/>
          <p:nvPr/>
        </p:nvSpPr>
        <p:spPr>
          <a:xfrm>
            <a:off x="-57150" y="1593850"/>
            <a:ext cx="12312650" cy="2501900"/>
          </a:xfrm>
          <a:prstGeom prst="rect">
            <a:avLst/>
          </a:prstGeom>
          <a:solidFill>
            <a:srgbClr val="35414C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74" name="Shape 74"/>
          <p:cNvSpPr/>
          <p:nvPr/>
        </p:nvSpPr>
        <p:spPr>
          <a:xfrm>
            <a:off x="582406" y="373114"/>
            <a:ext cx="4387420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7200">
                <a:solidFill>
                  <a:srgbClr val="42505D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lvl1pPr>
          </a:lstStyle>
          <a:p>
            <a:pPr marL="0" marR="0" lvl="0" indent="0" algn="l" defTabSz="309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sym typeface="Open Sans"/>
              </a:rPr>
              <a:t>THE 4 QUESTION CLOSE</a:t>
            </a:r>
          </a:p>
        </p:txBody>
      </p:sp>
      <p:sp>
        <p:nvSpPr>
          <p:cNvPr id="82" name="Shape 82"/>
          <p:cNvSpPr/>
          <p:nvPr/>
        </p:nvSpPr>
        <p:spPr>
          <a:xfrm>
            <a:off x="2881869" y="4371385"/>
            <a:ext cx="0" cy="1202159"/>
          </a:xfrm>
          <a:prstGeom prst="line">
            <a:avLst/>
          </a:prstGeom>
          <a:ln w="25400">
            <a:solidFill>
              <a:srgbClr val="444444">
                <a:alpha val="15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83" name="Shape 83"/>
          <p:cNvSpPr/>
          <p:nvPr/>
        </p:nvSpPr>
        <p:spPr>
          <a:xfrm>
            <a:off x="5129769" y="4371385"/>
            <a:ext cx="0" cy="1202159"/>
          </a:xfrm>
          <a:prstGeom prst="line">
            <a:avLst/>
          </a:prstGeom>
          <a:ln w="25400">
            <a:solidFill>
              <a:srgbClr val="444444">
                <a:alpha val="15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84" name="Shape 84"/>
          <p:cNvSpPr/>
          <p:nvPr/>
        </p:nvSpPr>
        <p:spPr>
          <a:xfrm>
            <a:off x="1603668" y="4493216"/>
            <a:ext cx="273023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6400" b="1" spc="-192">
                <a:solidFill>
                  <a:srgbClr val="60606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spc="0">
                <a:solidFill>
                  <a:srgbClr val="000000"/>
                </a:solidFill>
              </a:defRPr>
            </a:pPr>
            <a:r>
              <a:rPr kumimoji="0" sz="3200" b="0" i="0" u="none" strike="noStrike" kern="0" cap="none" spc="-96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1</a:t>
            </a:r>
          </a:p>
        </p:txBody>
      </p:sp>
      <p:sp>
        <p:nvSpPr>
          <p:cNvPr id="85" name="Shape 85"/>
          <p:cNvSpPr/>
          <p:nvPr/>
        </p:nvSpPr>
        <p:spPr>
          <a:xfrm>
            <a:off x="3867998" y="4490041"/>
            <a:ext cx="273023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6400" b="1" spc="-192">
                <a:solidFill>
                  <a:srgbClr val="60606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spc="0">
                <a:solidFill>
                  <a:srgbClr val="000000"/>
                </a:solidFill>
              </a:defRPr>
            </a:pPr>
            <a:r>
              <a:rPr kumimoji="0" sz="3200" b="0" i="0" u="none" strike="noStrike" kern="0" cap="none" spc="-96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2</a:t>
            </a:r>
          </a:p>
        </p:txBody>
      </p:sp>
      <p:sp>
        <p:nvSpPr>
          <p:cNvPr id="86" name="Shape 86"/>
          <p:cNvSpPr/>
          <p:nvPr/>
        </p:nvSpPr>
        <p:spPr>
          <a:xfrm>
            <a:off x="6266626" y="4490041"/>
            <a:ext cx="273023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6400" b="1" spc="-192">
                <a:solidFill>
                  <a:srgbClr val="60606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spc="0">
                <a:solidFill>
                  <a:srgbClr val="000000"/>
                </a:solidFill>
              </a:defRPr>
            </a:pPr>
            <a:r>
              <a:rPr kumimoji="0" lang="en-US" sz="3200" b="0" i="0" u="none" strike="noStrike" kern="0" cap="none" spc="-96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3</a:t>
            </a:r>
            <a:endParaRPr kumimoji="0" sz="3200" b="0" i="0" u="none" strike="noStrike" kern="0" cap="none" spc="-96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87" name="Shape 87"/>
          <p:cNvSpPr/>
          <p:nvPr/>
        </p:nvSpPr>
        <p:spPr>
          <a:xfrm>
            <a:off x="623203" y="5054914"/>
            <a:ext cx="2233952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400" b="1" spc="-24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309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How much $$$ would</a:t>
            </a:r>
          </a:p>
          <a:p>
            <a:pPr marL="0" marR="0" lvl="0" indent="0" algn="ctr" defTabSz="309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0" dirty="0">
                <a:solidFill>
                  <a:srgbClr val="38C3C6"/>
                </a:solidFill>
              </a:rPr>
              <a:t>y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ou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 want to earn?</a:t>
            </a:r>
          </a:p>
        </p:txBody>
      </p:sp>
      <p:sp>
        <p:nvSpPr>
          <p:cNvPr id="88" name="Shape 88"/>
          <p:cNvSpPr/>
          <p:nvPr/>
        </p:nvSpPr>
        <p:spPr>
          <a:xfrm>
            <a:off x="2996372" y="5036954"/>
            <a:ext cx="2012923" cy="7899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400" b="1" spc="-24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How much time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-12" dirty="0">
                <a:solidFill>
                  <a:srgbClr val="38C3C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an you commit for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goal ?</a:t>
            </a:r>
          </a:p>
        </p:txBody>
      </p:sp>
      <p:sp>
        <p:nvSpPr>
          <p:cNvPr id="89" name="Shape 89"/>
          <p:cNvSpPr/>
          <p:nvPr/>
        </p:nvSpPr>
        <p:spPr>
          <a:xfrm>
            <a:off x="5244214" y="5045848"/>
            <a:ext cx="2518318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400" b="1" spc="-24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How long would you 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spc="-12" dirty="0">
                <a:solidFill>
                  <a:srgbClr val="38C3C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o it to get that incom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691109" y="177113"/>
            <a:ext cx="99387" cy="207749"/>
          </a:xfrm>
        </p:spPr>
        <p:txBody>
          <a:bodyPr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Bold" charset="0"/>
                <a:ea typeface="ＭＳ Ｐゴシック" charset="0"/>
                <a:cs typeface="Open Sans Bold" charset="0"/>
                <a:sym typeface="Gill Sans"/>
              </a:rPr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 charset="0"/>
              <a:ea typeface="ＭＳ Ｐゴシック" charset="0"/>
              <a:cs typeface="Open Sans Bold" charset="0"/>
              <a:sym typeface="Gill Sans"/>
            </a:endParaRPr>
          </a:p>
        </p:txBody>
      </p:sp>
      <p:sp>
        <p:nvSpPr>
          <p:cNvPr id="20" name="Shape 83">
            <a:extLst>
              <a:ext uri="{FF2B5EF4-FFF2-40B4-BE49-F238E27FC236}">
                <a16:creationId xmlns:a16="http://schemas.microsoft.com/office/drawing/2014/main" id="{398361C0-77F5-4E7A-8843-EEA3A39FA00C}"/>
              </a:ext>
            </a:extLst>
          </p:cNvPr>
          <p:cNvSpPr/>
          <p:nvPr/>
        </p:nvSpPr>
        <p:spPr>
          <a:xfrm>
            <a:off x="7876976" y="4387427"/>
            <a:ext cx="0" cy="1202159"/>
          </a:xfrm>
          <a:prstGeom prst="line">
            <a:avLst/>
          </a:prstGeom>
          <a:ln w="25400">
            <a:solidFill>
              <a:srgbClr val="444444">
                <a:alpha val="15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1" name="Shape 86">
            <a:extLst>
              <a:ext uri="{FF2B5EF4-FFF2-40B4-BE49-F238E27FC236}">
                <a16:creationId xmlns:a16="http://schemas.microsoft.com/office/drawing/2014/main" id="{22C9567F-73B5-41E6-B95F-04E0492A6948}"/>
              </a:ext>
            </a:extLst>
          </p:cNvPr>
          <p:cNvSpPr/>
          <p:nvPr/>
        </p:nvSpPr>
        <p:spPr>
          <a:xfrm>
            <a:off x="9380129" y="4504727"/>
            <a:ext cx="273023" cy="5437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6400" b="1" spc="-192">
                <a:solidFill>
                  <a:srgbClr val="606060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spc="0">
                <a:solidFill>
                  <a:srgbClr val="000000"/>
                </a:solidFill>
              </a:defRPr>
            </a:pPr>
            <a:r>
              <a:rPr kumimoji="0" lang="en-US" sz="3200" b="0" i="0" u="none" strike="noStrike" kern="0" cap="none" spc="-96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4</a:t>
            </a:r>
            <a:endParaRPr kumimoji="0" sz="3200" b="0" i="0" u="none" strike="noStrike" kern="0" cap="none" spc="-96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2" name="Shape 89">
            <a:extLst>
              <a:ext uri="{FF2B5EF4-FFF2-40B4-BE49-F238E27FC236}">
                <a16:creationId xmlns:a16="http://schemas.microsoft.com/office/drawing/2014/main" id="{EDFB2539-2A1F-42E5-B8DB-0819518DD4C5}"/>
              </a:ext>
            </a:extLst>
          </p:cNvPr>
          <p:cNvSpPr/>
          <p:nvPr/>
        </p:nvSpPr>
        <p:spPr>
          <a:xfrm>
            <a:off x="7792770" y="5062602"/>
            <a:ext cx="3721566" cy="15286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400" b="1" spc="-24">
                <a:solidFill>
                  <a:srgbClr val="42A3E8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If I could show you how to develop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an income of 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(their answer to #1), 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working 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(their answer to #2) 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hours per week, over the 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course of </a:t>
            </a: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(their answer to #3),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-12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would you be ready to get started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1F636F2-8001-45BD-A9DD-F9C482D7BC2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" t="43668" r="-134" b="13462"/>
          <a:stretch/>
        </p:blipFill>
        <p:spPr>
          <a:xfrm>
            <a:off x="-57150" y="1177752"/>
            <a:ext cx="12345838" cy="3175673"/>
          </a:xfrm>
        </p:spPr>
      </p:pic>
    </p:spTree>
  </p:cSld>
  <p:clrMapOvr>
    <a:masterClrMapping/>
  </p:clrMapOvr>
  <p:transition spd="slow">
    <p:push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person, table, holding&#10;&#10;Description automatically generated">
            <a:extLst>
              <a:ext uri="{FF2B5EF4-FFF2-40B4-BE49-F238E27FC236}">
                <a16:creationId xmlns:a16="http://schemas.microsoft.com/office/drawing/2014/main" id="{B6FC22B4-7C97-41C5-B1AC-11C52FB5A77D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8263"/>
            <a:ext cx="12264271" cy="769989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164D45-6AA8-47F3-870D-2B95C8613B6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52288" y="458788"/>
            <a:ext cx="239712" cy="20637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Gill San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F3F4A"/>
              </a:solidFill>
              <a:effectLst/>
              <a:uLnTx/>
              <a:uFillTx/>
              <a:latin typeface="Gill San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428CE3-488F-4FE4-88F2-3057FC598530}"/>
              </a:ext>
            </a:extLst>
          </p:cNvPr>
          <p:cNvSpPr txBox="1"/>
          <p:nvPr/>
        </p:nvSpPr>
        <p:spPr>
          <a:xfrm>
            <a:off x="451984" y="856682"/>
            <a:ext cx="7827264" cy="601190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What do you like best about what you do?</a:t>
            </a:r>
          </a:p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If you could change one thing about what you do, what    would that be?</a:t>
            </a:r>
          </a:p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If you could pay yourself more on a monthly basis, how     much more would you need to? ($500, $1000, $2000)</a:t>
            </a:r>
          </a:p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What would you do with that extra income,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that you          currently aren’t able to d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/>
              </a:rPr>
              <a:t>? 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_______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/>
              </a:rPr>
              <a:t>(Be assumptive help them dream)</a:t>
            </a:r>
          </a:p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Are these goals and dreams important to you?</a:t>
            </a:r>
          </a:p>
          <a:p>
            <a:pPr marL="457200" marR="0" lvl="0" indent="-4572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sym typeface="Gill Sans"/>
              </a:rPr>
              <a:t>Do you see yourself, being able to accomplish these goals  and dreams anytime soon, with what you are currently      doing?  WFA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+mn-ea"/>
              <a:cs typeface="+mn-cs"/>
              <a:sym typeface="Gill Sans"/>
            </a:endParaRPr>
          </a:p>
          <a:p>
            <a:pPr marL="342900" marR="0" lvl="0" indent="-34290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+mn-ea"/>
              <a:cs typeface="+mn-cs"/>
              <a:sym typeface="Gill Sans"/>
            </a:endParaRPr>
          </a:p>
          <a:p>
            <a:pPr marL="0" marR="0" lvl="0" indent="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If you saw a way that you were able to and you see that you </a:t>
            </a:r>
          </a:p>
          <a:p>
            <a:pPr marL="0" marR="0" lvl="0" indent="0" algn="l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can 1,2,3,4,and 5...what would stop you from taking                  advantage </a:t>
            </a:r>
          </a:p>
        </p:txBody>
      </p:sp>
      <p:sp>
        <p:nvSpPr>
          <p:cNvPr id="7" name="Shape 74">
            <a:extLst>
              <a:ext uri="{FF2B5EF4-FFF2-40B4-BE49-F238E27FC236}">
                <a16:creationId xmlns:a16="http://schemas.microsoft.com/office/drawing/2014/main" id="{ABA0F447-8F1E-4CE5-A0EC-96DE22C41661}"/>
              </a:ext>
            </a:extLst>
          </p:cNvPr>
          <p:cNvSpPr/>
          <p:nvPr/>
        </p:nvSpPr>
        <p:spPr>
          <a:xfrm>
            <a:off x="520168" y="202307"/>
            <a:ext cx="4036361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7200">
                <a:solidFill>
                  <a:srgbClr val="42505D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lvl1pPr>
          </a:lstStyle>
          <a:p>
            <a:pPr marL="0" marR="0" lvl="0" indent="0" algn="l" defTabSz="309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Lato" panose="020F0502020204030203" pitchFamily="34" charset="0"/>
                <a:sym typeface="Open Sans"/>
              </a:rPr>
              <a:t>THE ULTIMATE CLOSE</a:t>
            </a:r>
          </a:p>
        </p:txBody>
      </p:sp>
    </p:spTree>
    <p:extLst>
      <p:ext uri="{BB962C8B-B14F-4D97-AF65-F5344CB8AC3E}">
        <p14:creationId xmlns:p14="http://schemas.microsoft.com/office/powerpoint/2010/main" val="225897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/>
          <p:nvPr/>
        </p:nvSpPr>
        <p:spPr>
          <a:xfrm flipH="1">
            <a:off x="6089649" y="-170121"/>
            <a:ext cx="6351" cy="2677334"/>
          </a:xfrm>
          <a:prstGeom prst="line">
            <a:avLst/>
          </a:prstGeom>
          <a:ln w="25400">
            <a:solidFill>
              <a:srgbClr val="42505D"/>
            </a:solidFill>
            <a:miter lim="400000"/>
            <a:headEnd type="oval"/>
            <a:tailEnd type="oval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1200" cap="none" spc="0" normalizeH="0" baseline="0" noProof="0">
              <a:ln>
                <a:noFill/>
              </a:ln>
              <a:solidFill>
                <a:srgbClr val="2F3F4A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5255445" y="3704976"/>
            <a:ext cx="7959360" cy="466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2700" b="0" i="0" u="none" strike="noStrike" kern="1200" cap="none" spc="-96" normalizeH="0" baseline="0" noProof="0" dirty="0">
                <a:ln>
                  <a:noFill/>
                </a:ln>
                <a:solidFill>
                  <a:srgbClr val="42505D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COMPLETED</a:t>
            </a:r>
          </a:p>
        </p:txBody>
      </p:sp>
      <p:sp>
        <p:nvSpPr>
          <p:cNvPr id="29" name="Shape 29"/>
          <p:cNvSpPr/>
          <p:nvPr/>
        </p:nvSpPr>
        <p:spPr>
          <a:xfrm>
            <a:off x="302203" y="2730350"/>
            <a:ext cx="11574893" cy="9746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700">
                <a:solidFill>
                  <a:srgbClr val="748A9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SKILL 5:  HELPING PROSPECTS TO BECOM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BUSINESS PARTNERS</a:t>
            </a:r>
          </a:p>
        </p:txBody>
      </p:sp>
      <p:sp>
        <p:nvSpPr>
          <p:cNvPr id="30" name="Shape 30"/>
          <p:cNvSpPr/>
          <p:nvPr/>
        </p:nvSpPr>
        <p:spPr>
          <a:xfrm>
            <a:off x="11433935" y="429278"/>
            <a:ext cx="250068" cy="2590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700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000000"/>
                </a:solidFill>
              </a:defRPr>
            </a:pPr>
            <a:r>
              <a:rPr kumimoji="0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02</a:t>
            </a:r>
          </a:p>
        </p:txBody>
      </p:sp>
      <p:pic>
        <p:nvPicPr>
          <p:cNvPr id="3" name="Graphic 2" descr="Ribbon">
            <a:extLst>
              <a:ext uri="{FF2B5EF4-FFF2-40B4-BE49-F238E27FC236}">
                <a16:creationId xmlns:a16="http://schemas.microsoft.com/office/drawing/2014/main" id="{C4D51BDB-7A22-49AB-A5B9-3E6D45D494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65321" y="4125662"/>
            <a:ext cx="1061357" cy="1061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79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Shape 983"/>
          <p:cNvSpPr/>
          <p:nvPr/>
        </p:nvSpPr>
        <p:spPr>
          <a:xfrm rot="5400000">
            <a:off x="1054280" y="5592354"/>
            <a:ext cx="715473" cy="13599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3480" y="0"/>
                </a:lnTo>
                <a:lnTo>
                  <a:pt x="3480" y="19507"/>
                </a:lnTo>
                <a:lnTo>
                  <a:pt x="21600" y="19507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748A9F"/>
          </a:solidFill>
          <a:ln>
            <a:round/>
          </a:ln>
        </p:spPr>
        <p:txBody>
          <a:bodyPr lIns="0" tIns="0" rIns="0" bIns="0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984" name="Shape 984"/>
          <p:cNvSpPr/>
          <p:nvPr/>
        </p:nvSpPr>
        <p:spPr>
          <a:xfrm>
            <a:off x="1870780" y="5648811"/>
            <a:ext cx="231650" cy="2027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DFE6EB"/>
          </a:solidFill>
          <a:ln>
            <a:round/>
          </a:ln>
        </p:spPr>
        <p:txBody>
          <a:bodyPr lIns="0" tIns="0" rIns="0" bIns="0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992" name="Shape 992"/>
          <p:cNvSpPr/>
          <p:nvPr/>
        </p:nvSpPr>
        <p:spPr>
          <a:xfrm>
            <a:off x="1034431" y="6181538"/>
            <a:ext cx="1067998" cy="717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1350" b="1" i="0" u="none" strike="noStrike" kern="0" cap="none" spc="13" normalizeH="0" baseline="0" noProof="0" dirty="0">
                <a:ln>
                  <a:noFill/>
                </a:ln>
                <a:solidFill>
                  <a:srgbClr val="42505D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1. FINDING</a:t>
            </a: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1350" b="1" i="0" u="none" strike="noStrike" kern="0" cap="none" spc="13" normalizeH="0" baseline="0" noProof="0" dirty="0">
                <a:ln>
                  <a:noFill/>
                </a:ln>
                <a:solidFill>
                  <a:srgbClr val="42505D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PROSPECTS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748A9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F87450E-0F09-4C62-A2F1-6F4AF8E8CD0C}"/>
              </a:ext>
            </a:extLst>
          </p:cNvPr>
          <p:cNvGrpSpPr/>
          <p:nvPr/>
        </p:nvGrpSpPr>
        <p:grpSpPr>
          <a:xfrm>
            <a:off x="2197403" y="5027960"/>
            <a:ext cx="1387265" cy="1245551"/>
            <a:chOff x="4523460" y="8516958"/>
            <a:chExt cx="2774530" cy="2491101"/>
          </a:xfrm>
        </p:grpSpPr>
        <p:sp>
          <p:nvSpPr>
            <p:cNvPr id="985" name="Shape 985"/>
            <p:cNvSpPr/>
            <p:nvPr/>
          </p:nvSpPr>
          <p:spPr>
            <a:xfrm rot="5400000">
              <a:off x="5167908" y="8419958"/>
              <a:ext cx="1430944" cy="27198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748A9F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86" name="Shape 986"/>
            <p:cNvSpPr/>
            <p:nvPr/>
          </p:nvSpPr>
          <p:spPr>
            <a:xfrm>
              <a:off x="6834690" y="8516958"/>
              <a:ext cx="463300" cy="405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FE6EB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93" name="Shape 993"/>
            <p:cNvSpPr/>
            <p:nvPr/>
          </p:nvSpPr>
          <p:spPr>
            <a:xfrm>
              <a:off x="5161994" y="9572327"/>
              <a:ext cx="2135996" cy="14357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2. INVITING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ROSPECTS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C99081B-C8E7-4166-BDD2-93B4D7D998CD}"/>
              </a:ext>
            </a:extLst>
          </p:cNvPr>
          <p:cNvGrpSpPr/>
          <p:nvPr/>
        </p:nvGrpSpPr>
        <p:grpSpPr>
          <a:xfrm>
            <a:off x="3682235" y="4432001"/>
            <a:ext cx="1796909" cy="1338989"/>
            <a:chOff x="7493124" y="7283476"/>
            <a:chExt cx="3593818" cy="2677978"/>
          </a:xfrm>
        </p:grpSpPr>
        <p:sp>
          <p:nvSpPr>
            <p:cNvPr id="987" name="Shape 987"/>
            <p:cNvSpPr/>
            <p:nvPr/>
          </p:nvSpPr>
          <p:spPr>
            <a:xfrm rot="5400000">
              <a:off x="8137572" y="7269436"/>
              <a:ext cx="1430943" cy="2719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748A9F"/>
            </a:solidFill>
            <a:ln>
              <a:noFill/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88" name="Shape 988"/>
            <p:cNvSpPr/>
            <p:nvPr/>
          </p:nvSpPr>
          <p:spPr>
            <a:xfrm>
              <a:off x="9798587" y="7283476"/>
              <a:ext cx="463300" cy="4055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FE6EB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94" name="Shape 994"/>
            <p:cNvSpPr/>
            <p:nvPr/>
          </p:nvSpPr>
          <p:spPr>
            <a:xfrm>
              <a:off x="8126471" y="8525722"/>
              <a:ext cx="2960471" cy="14357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3. PRESENTING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OPPORTUNITY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8CFCA21-B275-459C-B846-9D642CFB6BA9}"/>
              </a:ext>
            </a:extLst>
          </p:cNvPr>
          <p:cNvGrpSpPr/>
          <p:nvPr/>
        </p:nvGrpSpPr>
        <p:grpSpPr>
          <a:xfrm>
            <a:off x="5160850" y="3802425"/>
            <a:ext cx="1696743" cy="1302784"/>
            <a:chOff x="10450354" y="6065887"/>
            <a:chExt cx="3393486" cy="2605568"/>
          </a:xfrm>
        </p:grpSpPr>
        <p:sp>
          <p:nvSpPr>
            <p:cNvPr id="989" name="Shape 989"/>
            <p:cNvSpPr/>
            <p:nvPr/>
          </p:nvSpPr>
          <p:spPr>
            <a:xfrm rot="5400000">
              <a:off x="11094801" y="6047996"/>
              <a:ext cx="1430945" cy="27198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748A9F"/>
            </a:solidFill>
            <a:ln>
              <a:noFill/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90" name="Shape 990"/>
            <p:cNvSpPr/>
            <p:nvPr/>
          </p:nvSpPr>
          <p:spPr>
            <a:xfrm>
              <a:off x="12707679" y="6065887"/>
              <a:ext cx="463300" cy="405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FE6EB"/>
            </a:solidFill>
            <a:ln>
              <a:noFill/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95" name="Shape 995"/>
            <p:cNvSpPr/>
            <p:nvPr/>
          </p:nvSpPr>
          <p:spPr>
            <a:xfrm>
              <a:off x="11124002" y="7235723"/>
              <a:ext cx="2719838" cy="1435732"/>
            </a:xfrm>
            <a:prstGeom prst="rect">
              <a:avLst/>
            </a:prstGeom>
            <a:ln w="12700">
              <a:noFill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4. FOLLOWING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UP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9EF09C2-5C76-41C7-9B1B-9701F764EC79}"/>
              </a:ext>
            </a:extLst>
          </p:cNvPr>
          <p:cNvGrpSpPr/>
          <p:nvPr/>
        </p:nvGrpSpPr>
        <p:grpSpPr>
          <a:xfrm>
            <a:off x="6657543" y="3217023"/>
            <a:ext cx="1420597" cy="1279732"/>
            <a:chOff x="13443741" y="4895084"/>
            <a:chExt cx="2841194" cy="2559463"/>
          </a:xfrm>
        </p:grpSpPr>
        <p:sp>
          <p:nvSpPr>
            <p:cNvPr id="991" name="Shape 991"/>
            <p:cNvSpPr/>
            <p:nvPr/>
          </p:nvSpPr>
          <p:spPr>
            <a:xfrm rot="5400000">
              <a:off x="14088188" y="4817373"/>
              <a:ext cx="1430946" cy="2719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38C3C6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996" name="Shape 996"/>
            <p:cNvSpPr/>
            <p:nvPr/>
          </p:nvSpPr>
          <p:spPr>
            <a:xfrm>
              <a:off x="14116602" y="6018815"/>
              <a:ext cx="2135996" cy="14357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5. HELPING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ROSPECT TO BECOME A PARTNER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28" name="Shape 988">
              <a:extLst>
                <a:ext uri="{FF2B5EF4-FFF2-40B4-BE49-F238E27FC236}">
                  <a16:creationId xmlns:a16="http://schemas.microsoft.com/office/drawing/2014/main" id="{271E975D-AD71-460C-8413-9DEC4EF46A60}"/>
                </a:ext>
              </a:extLst>
            </p:cNvPr>
            <p:cNvSpPr/>
            <p:nvPr/>
          </p:nvSpPr>
          <p:spPr>
            <a:xfrm>
              <a:off x="15821635" y="4895084"/>
              <a:ext cx="463300" cy="4055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FE6EB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793D354-AF7E-4789-8CE8-9A876BCC35ED}"/>
              </a:ext>
            </a:extLst>
          </p:cNvPr>
          <p:cNvGrpSpPr/>
          <p:nvPr/>
        </p:nvGrpSpPr>
        <p:grpSpPr>
          <a:xfrm>
            <a:off x="8153844" y="2628341"/>
            <a:ext cx="1452901" cy="1268291"/>
            <a:chOff x="16436343" y="3717720"/>
            <a:chExt cx="2905801" cy="2536582"/>
          </a:xfrm>
        </p:grpSpPr>
        <p:sp>
          <p:nvSpPr>
            <p:cNvPr id="25" name="Shape 985">
              <a:extLst>
                <a:ext uri="{FF2B5EF4-FFF2-40B4-BE49-F238E27FC236}">
                  <a16:creationId xmlns:a16="http://schemas.microsoft.com/office/drawing/2014/main" id="{FFA9C377-2E2D-4DAF-AB7D-CCC957A97C25}"/>
                </a:ext>
              </a:extLst>
            </p:cNvPr>
            <p:cNvSpPr/>
            <p:nvPr/>
          </p:nvSpPr>
          <p:spPr>
            <a:xfrm rot="5400000">
              <a:off x="17080791" y="3638336"/>
              <a:ext cx="1430944" cy="27198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748A9F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26" name="Shape 986">
              <a:extLst>
                <a:ext uri="{FF2B5EF4-FFF2-40B4-BE49-F238E27FC236}">
                  <a16:creationId xmlns:a16="http://schemas.microsoft.com/office/drawing/2014/main" id="{40F80AFF-A57B-4DF0-B727-614D46A0FE27}"/>
                </a:ext>
              </a:extLst>
            </p:cNvPr>
            <p:cNvSpPr/>
            <p:nvPr/>
          </p:nvSpPr>
          <p:spPr>
            <a:xfrm>
              <a:off x="18747573" y="3717720"/>
              <a:ext cx="463300" cy="4055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2160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DFE6EB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31" name="Shape 993">
              <a:extLst>
                <a:ext uri="{FF2B5EF4-FFF2-40B4-BE49-F238E27FC236}">
                  <a16:creationId xmlns:a16="http://schemas.microsoft.com/office/drawing/2014/main" id="{734FA4D3-D881-4780-B310-012CAFE01E5D}"/>
                </a:ext>
              </a:extLst>
            </p:cNvPr>
            <p:cNvSpPr/>
            <p:nvPr/>
          </p:nvSpPr>
          <p:spPr>
            <a:xfrm>
              <a:off x="17109989" y="4818570"/>
              <a:ext cx="2232155" cy="14357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257175" marR="0" lvl="0" indent="-257175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 startAt="6"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HELPING 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ARTNER GET STARTED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F3B525F-5A6D-4433-97FA-61623ED9F430}"/>
              </a:ext>
            </a:extLst>
          </p:cNvPr>
          <p:cNvGrpSpPr/>
          <p:nvPr/>
        </p:nvGrpSpPr>
        <p:grpSpPr>
          <a:xfrm>
            <a:off x="9638676" y="2326804"/>
            <a:ext cx="1858157" cy="991617"/>
            <a:chOff x="19406007" y="3114646"/>
            <a:chExt cx="3716314" cy="1983233"/>
          </a:xfrm>
        </p:grpSpPr>
        <p:sp>
          <p:nvSpPr>
            <p:cNvPr id="27" name="Shape 987">
              <a:extLst>
                <a:ext uri="{FF2B5EF4-FFF2-40B4-BE49-F238E27FC236}">
                  <a16:creationId xmlns:a16="http://schemas.microsoft.com/office/drawing/2014/main" id="{522FDD1D-0F48-4F35-89A9-D3253410E397}"/>
                </a:ext>
              </a:extLst>
            </p:cNvPr>
            <p:cNvSpPr/>
            <p:nvPr/>
          </p:nvSpPr>
          <p:spPr>
            <a:xfrm rot="5400000">
              <a:off x="20050455" y="2470198"/>
              <a:ext cx="1430943" cy="27198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480" y="0"/>
                  </a:lnTo>
                  <a:lnTo>
                    <a:pt x="3480" y="19507"/>
                  </a:lnTo>
                  <a:lnTo>
                    <a:pt x="21600" y="19507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748A9F"/>
            </a:solidFill>
            <a:ln>
              <a:round/>
            </a:ln>
          </p:spPr>
          <p:txBody>
            <a:bodyPr lIns="0" tIns="0" rIns="0" bIns="0"/>
            <a:lstStyle/>
            <a:p>
              <a:pPr marL="0" marR="0" lvl="0" indent="0" algn="l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>
                  <a:latin typeface="Helvetica"/>
                  <a:ea typeface="Helvetica"/>
                  <a:cs typeface="Helvetica"/>
                  <a:sym typeface="Helvetica"/>
                </a:defRPr>
              </a:pPr>
              <a:endParaRPr kumimoji="0" sz="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cs typeface="Helvetica"/>
                <a:sym typeface="Helvetica"/>
              </a:endParaRPr>
            </a:p>
          </p:txBody>
        </p:sp>
        <p:sp>
          <p:nvSpPr>
            <p:cNvPr id="32" name="Shape 994">
              <a:extLst>
                <a:ext uri="{FF2B5EF4-FFF2-40B4-BE49-F238E27FC236}">
                  <a16:creationId xmlns:a16="http://schemas.microsoft.com/office/drawing/2014/main" id="{8A12E776-7097-4CED-875E-F75471A03D69}"/>
                </a:ext>
              </a:extLst>
            </p:cNvPr>
            <p:cNvSpPr/>
            <p:nvPr/>
          </p:nvSpPr>
          <p:spPr>
            <a:xfrm>
              <a:off x="20056017" y="3662147"/>
              <a:ext cx="3066304" cy="14357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0" tIns="0" rIns="0" bIns="0"/>
            <a:lstStyle/>
            <a:p>
              <a:pPr marL="257175" marR="0" lvl="0" indent="-257175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eriod" startAt="7"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ROMOTING</a:t>
              </a:r>
            </a:p>
            <a:p>
              <a:pPr marL="0" marR="0" lvl="0" indent="0" algn="l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en-US" sz="1350" b="1" i="0" u="none" strike="noStrike" kern="0" cap="none" spc="13" normalizeH="0" baseline="0" noProof="0" dirty="0">
                  <a:ln>
                    <a:noFill/>
                  </a:ln>
                  <a:solidFill>
                    <a:srgbClr val="42505D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EVENTS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748A9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1026" name="Picture 2" descr="Image result for silhouette of a person walking">
            <a:extLst>
              <a:ext uri="{FF2B5EF4-FFF2-40B4-BE49-F238E27FC236}">
                <a16:creationId xmlns:a16="http://schemas.microsoft.com/office/drawing/2014/main" id="{9F03688B-F7B7-4A1C-8758-B8FCB7620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500" b="90000" l="10000" r="90000">
                        <a14:foregroundMark x1="48077" y1="7500" x2="51538" y2="7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120" y="1318192"/>
            <a:ext cx="2347695" cy="2528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20">
            <a:extLst>
              <a:ext uri="{FF2B5EF4-FFF2-40B4-BE49-F238E27FC236}">
                <a16:creationId xmlns:a16="http://schemas.microsoft.com/office/drawing/2014/main" id="{D56132F1-2FA2-4B35-B738-C8245F7B2A35}"/>
              </a:ext>
            </a:extLst>
          </p:cNvPr>
          <p:cNvGrpSpPr/>
          <p:nvPr/>
        </p:nvGrpSpPr>
        <p:grpSpPr>
          <a:xfrm>
            <a:off x="600286" y="633745"/>
            <a:ext cx="5924700" cy="827728"/>
            <a:chOff x="2450268" y="-5274275"/>
            <a:chExt cx="11849396" cy="1655456"/>
          </a:xfrm>
        </p:grpSpPr>
        <p:sp>
          <p:nvSpPr>
            <p:cNvPr id="35" name="Shape 18">
              <a:extLst>
                <a:ext uri="{FF2B5EF4-FFF2-40B4-BE49-F238E27FC236}">
                  <a16:creationId xmlns:a16="http://schemas.microsoft.com/office/drawing/2014/main" id="{9C738375-AE50-4A07-A5C6-F55897CBD1AC}"/>
                </a:ext>
              </a:extLst>
            </p:cNvPr>
            <p:cNvSpPr/>
            <p:nvPr/>
          </p:nvSpPr>
          <p:spPr>
            <a:xfrm>
              <a:off x="2450268" y="-5274275"/>
              <a:ext cx="11849396" cy="12105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defRPr sz="7200">
                  <a:solidFill>
                    <a:srgbClr val="42A3E8"/>
                  </a:solidFill>
                  <a:latin typeface="Montserrat-Bold"/>
                  <a:ea typeface="Montserrat-Bold"/>
                  <a:cs typeface="Montserrat-Bold"/>
                  <a:sym typeface="Montserrat-Bold"/>
                </a:defRPr>
              </a:lvl1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en-US" sz="3600" b="1" i="0" u="none" strike="noStrike" kern="0" cap="none" spc="300" normalizeH="0" baseline="0" noProof="0" dirty="0">
                  <a:ln>
                    <a:noFill/>
                  </a:ln>
                  <a:solidFill>
                    <a:srgbClr val="38C3C6"/>
                  </a:solidFill>
                  <a:effectLst/>
                  <a:uLnTx/>
                  <a:uFillTx/>
                  <a:latin typeface="Lato" panose="020F0502020204030203" pitchFamily="34" charset="0"/>
                  <a:sym typeface="Montserrat-Bold"/>
                </a:rPr>
                <a:t>7 SKILLS TO BECOME A </a:t>
              </a:r>
              <a:endParaRPr kumimoji="0" sz="3600" b="1" i="0" u="none" strike="noStrike" kern="0" cap="none" spc="30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sym typeface="Montserrat-Bold"/>
              </a:endParaRPr>
            </a:p>
          </p:txBody>
        </p:sp>
        <p:sp>
          <p:nvSpPr>
            <p:cNvPr id="36" name="Shape 19">
              <a:extLst>
                <a:ext uri="{FF2B5EF4-FFF2-40B4-BE49-F238E27FC236}">
                  <a16:creationId xmlns:a16="http://schemas.microsoft.com/office/drawing/2014/main" id="{04F9EDA2-9A50-497B-B407-3032D9FDED64}"/>
                </a:ext>
              </a:extLst>
            </p:cNvPr>
            <p:cNvSpPr/>
            <p:nvPr/>
          </p:nvSpPr>
          <p:spPr>
            <a:xfrm>
              <a:off x="3272380" y="-4275409"/>
              <a:ext cx="9694961" cy="656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defRPr sz="2400">
                  <a:solidFill>
                    <a:srgbClr val="35414C"/>
                  </a:solidFill>
                  <a:latin typeface="Open Sans"/>
                  <a:ea typeface="Open Sans"/>
                  <a:cs typeface="Open Sans"/>
                  <a:sym typeface="Open Sans"/>
                </a:defRPr>
              </a:lvl1pPr>
            </a:lstStyle>
            <a:p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solidFill>
                    <a:srgbClr val="000000"/>
                  </a:solidFill>
                </a:defRPr>
              </a:pPr>
              <a:r>
                <a:rPr kumimoji="0" lang="en-US" sz="1800" b="1" i="0" u="none" strike="noStrike" kern="0" cap="none" spc="150" normalizeH="0" baseline="0" noProof="0" dirty="0">
                  <a:ln>
                    <a:noFill/>
                  </a:ln>
                  <a:solidFill>
                    <a:srgbClr val="2F3F4A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rPr>
                <a:t>PROFESSIONAL NETWORK MARKETER</a:t>
              </a:r>
              <a:endParaRPr kumimoji="0" sz="1800" b="1" i="0" u="none" strike="noStrike" kern="0" cap="none" spc="15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537188F-62C2-48C9-A6D9-6ED73E58F792}"/>
              </a:ext>
            </a:extLst>
          </p:cNvPr>
          <p:cNvSpPr txBox="1"/>
          <p:nvPr/>
        </p:nvSpPr>
        <p:spPr>
          <a:xfrm flipH="1">
            <a:off x="3001129" y="1437597"/>
            <a:ext cx="5217043" cy="20518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ill Sans"/>
                <a:sym typeface="Gill Sans"/>
              </a:rPr>
              <a:t>Go Pro Book – by Eric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ill Sans"/>
                <a:sym typeface="Gill Sans"/>
              </a:rPr>
              <a:t>Worr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sym typeface="Gill San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848C2A71-C88A-4A63-A847-CE194384FE8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92940"/>
            <a:ext cx="12192000" cy="8090696"/>
          </a:xfrm>
          <a:prstGeom prst="rect">
            <a:avLst/>
          </a:prstGeom>
        </p:spPr>
      </p:pic>
      <p:sp>
        <p:nvSpPr>
          <p:cNvPr id="25" name="Shape 25"/>
          <p:cNvSpPr/>
          <p:nvPr/>
        </p:nvSpPr>
        <p:spPr>
          <a:xfrm flipH="1">
            <a:off x="6089649" y="-170121"/>
            <a:ext cx="6351" cy="2677334"/>
          </a:xfrm>
          <a:prstGeom prst="line">
            <a:avLst/>
          </a:prstGeom>
          <a:ln w="25400">
            <a:solidFill>
              <a:srgbClr val="42505D"/>
            </a:solidFill>
            <a:miter lim="400000"/>
            <a:headEnd type="oval"/>
            <a:tailEnd type="oval"/>
          </a:ln>
        </p:spPr>
        <p:txBody>
          <a:bodyPr lIns="0" tIns="0" rIns="0" bIns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2063447" y="4332712"/>
            <a:ext cx="7959360" cy="15286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3200" b="0" i="0" u="none" strike="noStrike" kern="0" cap="none" spc="-96" normalizeH="0" baseline="0" noProof="0" dirty="0">
                <a:ln>
                  <a:noFill/>
                </a:ln>
                <a:solidFill>
                  <a:srgbClr val="42505D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A person who is an expert at the skills required to build a large and successful Network Marketing organization</a:t>
            </a:r>
          </a:p>
        </p:txBody>
      </p:sp>
      <p:pic>
        <p:nvPicPr>
          <p:cNvPr id="27" name="Picture 26"/>
          <p:cNvPicPr/>
          <p:nvPr/>
        </p:nvPicPr>
        <p:blipFill>
          <a:blip r:embed="rId3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09128" y="5861335"/>
            <a:ext cx="2616338" cy="139698"/>
          </a:xfrm>
          <a:prstGeom prst="rect">
            <a:avLst/>
          </a:prstGeom>
        </p:spPr>
      </p:pic>
      <p:sp>
        <p:nvSpPr>
          <p:cNvPr id="29" name="Shape 29"/>
          <p:cNvSpPr/>
          <p:nvPr/>
        </p:nvSpPr>
        <p:spPr>
          <a:xfrm>
            <a:off x="1904826" y="3936533"/>
            <a:ext cx="8052405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700">
                <a:solidFill>
                  <a:srgbClr val="748A9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A NETWORK MARKETING PROFESSIONAL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38C3C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Shape 30"/>
          <p:cNvSpPr/>
          <p:nvPr/>
        </p:nvSpPr>
        <p:spPr>
          <a:xfrm>
            <a:off x="11435339" y="429278"/>
            <a:ext cx="250069" cy="2590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>
              <a:defRPr sz="2700" b="1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solidFill>
                  <a:srgbClr val="000000"/>
                </a:solidFill>
              </a:defRPr>
            </a:pPr>
            <a:r>
              <a:rPr kumimoji="0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02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9E67845-F94D-4F7E-AB66-D7B703EA05F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46864" cy="793520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1D257F3A-99CC-4F1A-BEFC-E773118E6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935" y="307765"/>
            <a:ext cx="10515600" cy="839840"/>
          </a:xfrm>
        </p:spPr>
        <p:txBody>
          <a:bodyPr/>
          <a:lstStyle/>
          <a:p>
            <a:r>
              <a:rPr lang="en-US" dirty="0"/>
              <a:t>PREVIOUS SKILLS WE HAVE DISCUSSED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03A283A-2F2E-41C6-9099-00DA3407248D}"/>
              </a:ext>
            </a:extLst>
          </p:cNvPr>
          <p:cNvSpPr/>
          <p:nvPr/>
        </p:nvSpPr>
        <p:spPr>
          <a:xfrm>
            <a:off x="1821031" y="4252766"/>
            <a:ext cx="2407618" cy="2407618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C3709D1-3C14-4A69-8B9F-8B2994054B65}"/>
              </a:ext>
            </a:extLst>
          </p:cNvPr>
          <p:cNvSpPr txBox="1"/>
          <p:nvPr/>
        </p:nvSpPr>
        <p:spPr>
          <a:xfrm>
            <a:off x="2764309" y="4644171"/>
            <a:ext cx="14318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2980B9">
                    <a:lumMod val="75000"/>
                    <a:alpha val="25000"/>
                  </a:srgbClr>
                </a:solidFill>
                <a:effectLst/>
                <a:uLnTx/>
                <a:uFillTx/>
                <a:latin typeface="Bebas" pitchFamily="2" charset="0"/>
                <a:sym typeface="Gill Sans"/>
              </a:rPr>
              <a:t>01</a:t>
            </a:r>
            <a:endParaRPr kumimoji="0" lang="id-ID" sz="9600" b="0" i="0" u="none" strike="noStrike" kern="1200" cap="none" spc="0" normalizeH="0" baseline="0" noProof="0" dirty="0">
              <a:ln>
                <a:noFill/>
              </a:ln>
              <a:solidFill>
                <a:srgbClr val="2980B9">
                  <a:lumMod val="75000"/>
                  <a:alpha val="25000"/>
                </a:srgbClr>
              </a:solidFill>
              <a:effectLst/>
              <a:uLnTx/>
              <a:uFillTx/>
              <a:latin typeface="Bebas" pitchFamily="2" charset="0"/>
              <a:sym typeface="Gill San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54A19AE-560E-4B8B-8AE9-373A60111A9B}"/>
              </a:ext>
            </a:extLst>
          </p:cNvPr>
          <p:cNvSpPr/>
          <p:nvPr/>
        </p:nvSpPr>
        <p:spPr>
          <a:xfrm>
            <a:off x="3611545" y="2819398"/>
            <a:ext cx="2407618" cy="2407618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2D2EB54-6D22-4466-A0C0-BD2E04417AEC}"/>
              </a:ext>
            </a:extLst>
          </p:cNvPr>
          <p:cNvSpPr/>
          <p:nvPr/>
        </p:nvSpPr>
        <p:spPr>
          <a:xfrm>
            <a:off x="5118476" y="4252766"/>
            <a:ext cx="2407618" cy="2407618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547D8A70-77F9-4E55-9903-8B9BF1D85FBE}"/>
              </a:ext>
            </a:extLst>
          </p:cNvPr>
          <p:cNvSpPr/>
          <p:nvPr/>
        </p:nvSpPr>
        <p:spPr>
          <a:xfrm>
            <a:off x="6914195" y="2819398"/>
            <a:ext cx="2407618" cy="2407618"/>
          </a:xfrm>
          <a:prstGeom prst="ellipse">
            <a:avLst/>
          </a:prstGeom>
          <a:solidFill>
            <a:schemeClr val="accent4"/>
          </a:solidFill>
          <a:ln w="571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E0EA59A-CFA8-4377-A071-FD684C34178A}"/>
              </a:ext>
            </a:extLst>
          </p:cNvPr>
          <p:cNvSpPr txBox="1"/>
          <p:nvPr/>
        </p:nvSpPr>
        <p:spPr>
          <a:xfrm>
            <a:off x="4447768" y="2996879"/>
            <a:ext cx="14318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41B176">
                    <a:lumMod val="75000"/>
                    <a:alpha val="25000"/>
                  </a:srgbClr>
                </a:solidFill>
                <a:effectLst/>
                <a:uLnTx/>
                <a:uFillTx/>
                <a:latin typeface="Bebas" pitchFamily="2" charset="0"/>
                <a:sym typeface="Gill Sans"/>
              </a:rPr>
              <a:t>02</a:t>
            </a:r>
            <a:endParaRPr kumimoji="0" lang="id-ID" sz="9600" b="0" i="0" u="none" strike="noStrike" kern="1200" cap="none" spc="0" normalizeH="0" baseline="0" noProof="0" dirty="0">
              <a:ln>
                <a:noFill/>
              </a:ln>
              <a:solidFill>
                <a:srgbClr val="41B176">
                  <a:lumMod val="75000"/>
                  <a:alpha val="25000"/>
                </a:srgbClr>
              </a:solidFill>
              <a:effectLst/>
              <a:uLnTx/>
              <a:uFillTx/>
              <a:latin typeface="Bebas" pitchFamily="2" charset="0"/>
              <a:sym typeface="Gill San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674D4F0-2489-4F0C-A370-BEBB995B037F}"/>
              </a:ext>
            </a:extLst>
          </p:cNvPr>
          <p:cNvSpPr txBox="1"/>
          <p:nvPr/>
        </p:nvSpPr>
        <p:spPr>
          <a:xfrm>
            <a:off x="5878944" y="4553741"/>
            <a:ext cx="14318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75000"/>
                    <a:alpha val="25000"/>
                  </a:srgbClr>
                </a:solidFill>
                <a:effectLst/>
                <a:uLnTx/>
                <a:uFillTx/>
                <a:latin typeface="Bebas" pitchFamily="2" charset="0"/>
                <a:sym typeface="Gill Sans"/>
              </a:rPr>
              <a:t>03</a:t>
            </a:r>
            <a:endParaRPr kumimoji="0" lang="id-ID" sz="9600" b="0" i="0" u="none" strike="noStrike" kern="1200" cap="none" spc="0" normalizeH="0" baseline="0" noProof="0" dirty="0">
              <a:ln>
                <a:noFill/>
              </a:ln>
              <a:solidFill>
                <a:srgbClr val="9BBB59">
                  <a:lumMod val="75000"/>
                  <a:alpha val="25000"/>
                </a:srgbClr>
              </a:solidFill>
              <a:effectLst/>
              <a:uLnTx/>
              <a:uFillTx/>
              <a:latin typeface="Bebas" pitchFamily="2" charset="0"/>
              <a:sym typeface="Gill San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12C24BD-2475-4ED3-96A4-7265ACED5444}"/>
              </a:ext>
            </a:extLst>
          </p:cNvPr>
          <p:cNvSpPr txBox="1"/>
          <p:nvPr/>
        </p:nvSpPr>
        <p:spPr>
          <a:xfrm>
            <a:off x="7562403" y="2906449"/>
            <a:ext cx="14318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F39C12">
                    <a:lumMod val="75000"/>
                    <a:alpha val="25000"/>
                  </a:srgbClr>
                </a:solidFill>
                <a:effectLst/>
                <a:uLnTx/>
                <a:uFillTx/>
                <a:latin typeface="Bebas" pitchFamily="2" charset="0"/>
                <a:sym typeface="Gill Sans"/>
              </a:rPr>
              <a:t>04</a:t>
            </a:r>
            <a:endParaRPr kumimoji="0" lang="id-ID" sz="9600" b="0" i="0" u="none" strike="noStrike" kern="1200" cap="none" spc="0" normalizeH="0" baseline="0" noProof="0" dirty="0">
              <a:ln>
                <a:noFill/>
              </a:ln>
              <a:solidFill>
                <a:srgbClr val="F39C12">
                  <a:lumMod val="75000"/>
                  <a:alpha val="25000"/>
                </a:srgbClr>
              </a:solidFill>
              <a:effectLst/>
              <a:uLnTx/>
              <a:uFillTx/>
              <a:latin typeface="Bebas" pitchFamily="2" charset="0"/>
              <a:sym typeface="Gill San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B681F1F-B5F1-4FE7-93F2-328F5C6C8F82}"/>
              </a:ext>
            </a:extLst>
          </p:cNvPr>
          <p:cNvSpPr txBox="1"/>
          <p:nvPr/>
        </p:nvSpPr>
        <p:spPr>
          <a:xfrm>
            <a:off x="2026008" y="4871431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vis"/>
                <a:sym typeface="Gill Sans"/>
              </a:rPr>
              <a:t>Skill 0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vis"/>
              <a:sym typeface="Gill San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F97DCEB-D965-4818-AC21-C4976702493D}"/>
              </a:ext>
            </a:extLst>
          </p:cNvPr>
          <p:cNvSpPr/>
          <p:nvPr/>
        </p:nvSpPr>
        <p:spPr>
          <a:xfrm>
            <a:off x="2026009" y="5134480"/>
            <a:ext cx="20402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sym typeface="Gill Sans"/>
              </a:rPr>
              <a:t>Finding Prospect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1E278FF-ED82-4C14-9EE3-3ABF92B47A02}"/>
              </a:ext>
            </a:extLst>
          </p:cNvPr>
          <p:cNvSpPr txBox="1"/>
          <p:nvPr/>
        </p:nvSpPr>
        <p:spPr>
          <a:xfrm>
            <a:off x="3835523" y="3405384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vis"/>
                <a:sym typeface="Gill Sans"/>
              </a:rPr>
              <a:t>Skill 0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vis"/>
              <a:sym typeface="Gill San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8B93ED6-C9DA-4FEB-8B57-F673B54AEACE}"/>
              </a:ext>
            </a:extLst>
          </p:cNvPr>
          <p:cNvSpPr/>
          <p:nvPr/>
        </p:nvSpPr>
        <p:spPr>
          <a:xfrm>
            <a:off x="3835524" y="3668433"/>
            <a:ext cx="20402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sym typeface="Gill Sans"/>
              </a:rPr>
              <a:t>Inviting Prospects</a:t>
            </a: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D90E34-F67E-4465-8D98-F06115B6CBC5}"/>
              </a:ext>
            </a:extLst>
          </p:cNvPr>
          <p:cNvSpPr txBox="1"/>
          <p:nvPr/>
        </p:nvSpPr>
        <p:spPr>
          <a:xfrm>
            <a:off x="5337692" y="4871431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vis"/>
                <a:sym typeface="Gill Sans"/>
              </a:rPr>
              <a:t>Skill 0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vis"/>
              <a:sym typeface="Gill San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EB77EA3-0EF0-436B-A559-361891E0B95D}"/>
              </a:ext>
            </a:extLst>
          </p:cNvPr>
          <p:cNvSpPr/>
          <p:nvPr/>
        </p:nvSpPr>
        <p:spPr>
          <a:xfrm>
            <a:off x="5337693" y="5134481"/>
            <a:ext cx="20402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sym typeface="Gill Sans"/>
              </a:rPr>
              <a:t> Presenting Your Produc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B95EB94-8F9F-4AC8-9DAE-2DD62EE834CD}"/>
              </a:ext>
            </a:extLst>
          </p:cNvPr>
          <p:cNvSpPr txBox="1"/>
          <p:nvPr/>
        </p:nvSpPr>
        <p:spPr>
          <a:xfrm>
            <a:off x="7147207" y="3405384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evis"/>
                <a:sym typeface="Gill Sans"/>
              </a:rPr>
              <a:t>Skill 04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evis"/>
              <a:sym typeface="Gill San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E97FBC3-51D0-4EFC-866C-A0427B2B0A58}"/>
              </a:ext>
            </a:extLst>
          </p:cNvPr>
          <p:cNvSpPr/>
          <p:nvPr/>
        </p:nvSpPr>
        <p:spPr>
          <a:xfrm>
            <a:off x="7147208" y="3668434"/>
            <a:ext cx="20402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sym typeface="Gill Sans"/>
              </a:rPr>
              <a:t>The Fortune is in the Follow up</a:t>
            </a:r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7DE8FB0F-06FD-4563-A97E-06A65FBADEF0}"/>
              </a:ext>
            </a:extLst>
          </p:cNvPr>
          <p:cNvSpPr/>
          <p:nvPr/>
        </p:nvSpPr>
        <p:spPr>
          <a:xfrm rot="17050300">
            <a:off x="3428053" y="2684997"/>
            <a:ext cx="2783859" cy="2783859"/>
          </a:xfrm>
          <a:prstGeom prst="arc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47" name="Arc 46">
            <a:extLst>
              <a:ext uri="{FF2B5EF4-FFF2-40B4-BE49-F238E27FC236}">
                <a16:creationId xmlns:a16="http://schemas.microsoft.com/office/drawing/2014/main" id="{585AD01E-4D98-468C-AA7F-E0D9F50D4832}"/>
              </a:ext>
            </a:extLst>
          </p:cNvPr>
          <p:cNvSpPr/>
          <p:nvPr/>
        </p:nvSpPr>
        <p:spPr>
          <a:xfrm rot="11700000" flipH="1">
            <a:off x="1646266" y="4131123"/>
            <a:ext cx="2783859" cy="2783859"/>
          </a:xfrm>
          <a:prstGeom prst="arc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2C37119D-0276-43F6-AB48-CFA468C1FB33}"/>
              </a:ext>
            </a:extLst>
          </p:cNvPr>
          <p:cNvSpPr/>
          <p:nvPr/>
        </p:nvSpPr>
        <p:spPr>
          <a:xfrm rot="17050300">
            <a:off x="6706016" y="2728176"/>
            <a:ext cx="2783859" cy="2783859"/>
          </a:xfrm>
          <a:prstGeom prst="arc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49" name="Arc 48">
            <a:extLst>
              <a:ext uri="{FF2B5EF4-FFF2-40B4-BE49-F238E27FC236}">
                <a16:creationId xmlns:a16="http://schemas.microsoft.com/office/drawing/2014/main" id="{D57CAA1A-6C17-472A-BEE1-11C05D96B5B2}"/>
              </a:ext>
            </a:extLst>
          </p:cNvPr>
          <p:cNvSpPr/>
          <p:nvPr/>
        </p:nvSpPr>
        <p:spPr>
          <a:xfrm rot="11700000" flipH="1">
            <a:off x="4924229" y="4174302"/>
            <a:ext cx="2783859" cy="2783859"/>
          </a:xfrm>
          <a:prstGeom prst="arc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sysDot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buntu"/>
              <a:sym typeface="Gill San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763AD4-1CDD-40C6-926E-60641C936F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1040" y="1001370"/>
            <a:ext cx="10515600" cy="266700"/>
          </a:xfrm>
        </p:spPr>
        <p:txBody>
          <a:bodyPr/>
          <a:lstStyle/>
          <a:p>
            <a:r>
              <a:rPr lang="en-US" dirty="0"/>
              <a:t>We wish for you that you decide to become a Network Marketing Professional</a:t>
            </a:r>
          </a:p>
        </p:txBody>
      </p:sp>
    </p:spTree>
    <p:extLst>
      <p:ext uri="{BB962C8B-B14F-4D97-AF65-F5344CB8AC3E}">
        <p14:creationId xmlns:p14="http://schemas.microsoft.com/office/powerpoint/2010/main" val="1378865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50"/>
                            </p:stCondLst>
                            <p:childTnLst>
                              <p:par>
                                <p:cTn id="2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5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75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5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0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/>
      <p:bldP spid="32" grpId="0" animBg="1"/>
      <p:bldP spid="33" grpId="0" animBg="1"/>
      <p:bldP spid="34" grpId="0" animBg="1"/>
      <p:bldP spid="35" grpId="0"/>
      <p:bldP spid="36" grpId="0"/>
      <p:bldP spid="37" grpId="0"/>
      <p:bldP spid="38" grpId="0"/>
      <p:bldP spid="39" grpId="0" build="p"/>
      <p:bldP spid="40" grpId="0"/>
      <p:bldP spid="41" grpId="0" build="p"/>
      <p:bldP spid="42" grpId="0"/>
      <p:bldP spid="43" grpId="0" build="p"/>
      <p:bldP spid="44" grpId="0"/>
      <p:bldP spid="45" grpId="0" build="p"/>
      <p:bldP spid="46" grpId="0" animBg="1"/>
      <p:bldP spid="47" grpId="0" animBg="1"/>
      <p:bldP spid="48" grpId="0" animBg="1"/>
      <p:bldP spid="4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422A98-A11A-4B94-8300-59736B19143B}"/>
              </a:ext>
            </a:extLst>
          </p:cNvPr>
          <p:cNvSpPr/>
          <p:nvPr/>
        </p:nvSpPr>
        <p:spPr>
          <a:xfrm>
            <a:off x="7983896" y="2329336"/>
            <a:ext cx="4052595" cy="22751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B88C88A-7737-4DAE-B7D7-B45578890DDD}"/>
              </a:ext>
            </a:extLst>
          </p:cNvPr>
          <p:cNvGrpSpPr/>
          <p:nvPr/>
        </p:nvGrpSpPr>
        <p:grpSpPr>
          <a:xfrm>
            <a:off x="1465101" y="-1335055"/>
            <a:ext cx="8797795" cy="8333792"/>
            <a:chOff x="2930203" y="-2502159"/>
            <a:chExt cx="17595589" cy="16667584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A4F285F-6284-43D8-95EF-4CB607A87FE5}"/>
                </a:ext>
              </a:extLst>
            </p:cNvPr>
            <p:cNvSpPr/>
            <p:nvPr/>
          </p:nvSpPr>
          <p:spPr>
            <a:xfrm>
              <a:off x="2930203" y="4406435"/>
              <a:ext cx="3153748" cy="794544"/>
            </a:xfrm>
            <a:prstGeom prst="roundRect">
              <a:avLst/>
            </a:prstGeom>
            <a:solidFill>
              <a:schemeClr val="tx1">
                <a:lumMod val="75000"/>
                <a:lumOff val="25000"/>
              </a:schemeClr>
            </a:soli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2921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8AA14F5-57F0-4452-8C11-F48D38BA119E}"/>
                </a:ext>
              </a:extLst>
            </p:cNvPr>
            <p:cNvGrpSpPr/>
            <p:nvPr/>
          </p:nvGrpSpPr>
          <p:grpSpPr>
            <a:xfrm>
              <a:off x="3858208" y="-2502159"/>
              <a:ext cx="16667584" cy="16667584"/>
              <a:chOff x="3858208" y="-2502159"/>
              <a:chExt cx="16667584" cy="16667584"/>
            </a:xfrm>
          </p:grpSpPr>
          <p:pic>
            <p:nvPicPr>
              <p:cNvPr id="5" name="Picture 4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D498DDE2-3751-4C63-844F-813AE831BB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58208" y="-2502159"/>
                <a:ext cx="16667584" cy="16667584"/>
              </a:xfrm>
              <a:prstGeom prst="rect">
                <a:avLst/>
              </a:prstGeom>
            </p:spPr>
          </p:pic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DADF7BD5-370F-4B61-A9ED-DE2F733D1770}"/>
                  </a:ext>
                </a:extLst>
              </p:cNvPr>
              <p:cNvSpPr txBox="1"/>
              <p:nvPr/>
            </p:nvSpPr>
            <p:spPr>
              <a:xfrm>
                <a:off x="10412968" y="12134825"/>
                <a:ext cx="2446740" cy="121058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25400" tIns="25400" rIns="25400" bIns="25400" numCol="1" spcCol="38100" rtlCol="0" anchor="ctr">
                <a:spAutoFit/>
              </a:bodyPr>
              <a:lstStyle/>
              <a:p>
                <a:pPr marL="0" marR="0" lvl="0" indent="0" algn="ctr" defTabSz="412750" rtl="0" eaLnBrk="1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  <a:sym typeface="Gill Sans"/>
                  </a:rPr>
                  <a:t>Business</a:t>
                </a:r>
              </a:p>
              <a:p>
                <a:pPr marL="0" marR="0" lvl="0" indent="0" algn="ctr" defTabSz="412750" rtl="0" eaLnBrk="1" fontAlgn="auto" latinLnBrk="1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  <a:sym typeface="Gill Sans"/>
                  </a:rPr>
                  <a:t> 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Partner</a:t>
                </a:r>
                <a:endPara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endParaRPr>
              </a:p>
            </p:txBody>
          </p:sp>
        </p:grp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2CB69A3-8647-4065-B9A8-CED789BFAC34}"/>
                </a:ext>
              </a:extLst>
            </p:cNvPr>
            <p:cNvSpPr txBox="1"/>
            <p:nvPr/>
          </p:nvSpPr>
          <p:spPr>
            <a:xfrm>
              <a:off x="3172409" y="4475409"/>
              <a:ext cx="2556588" cy="65659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Leak Point</a:t>
              </a:r>
            </a:p>
          </p:txBody>
        </p:sp>
      </p:grpSp>
      <p:sp>
        <p:nvSpPr>
          <p:cNvPr id="32" name="Arc 31">
            <a:extLst>
              <a:ext uri="{FF2B5EF4-FFF2-40B4-BE49-F238E27FC236}">
                <a16:creationId xmlns:a16="http://schemas.microsoft.com/office/drawing/2014/main" id="{648BA0EA-6546-462D-A99D-7B07821331A7}"/>
              </a:ext>
            </a:extLst>
          </p:cNvPr>
          <p:cNvSpPr/>
          <p:nvPr/>
        </p:nvSpPr>
        <p:spPr>
          <a:xfrm flipH="1">
            <a:off x="6532789" y="4708476"/>
            <a:ext cx="1505339" cy="1025562"/>
          </a:xfrm>
          <a:prstGeom prst="arc">
            <a:avLst>
              <a:gd name="adj1" fmla="val 20696060"/>
              <a:gd name="adj2" fmla="val 3714004"/>
            </a:avLst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20" tIns="22860" rIns="45720" bIns="22860" numCol="1" spcCol="38100" rtlCol="0" anchor="t">
            <a:noAutofit/>
          </a:bodyPr>
          <a:lstStyle/>
          <a:p>
            <a:pPr marL="0" marR="0" lvl="0" indent="0" algn="l" defTabSz="4572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9A36419-670B-41F6-AF3A-1EE1058E3731}"/>
              </a:ext>
            </a:extLst>
          </p:cNvPr>
          <p:cNvSpPr txBox="1"/>
          <p:nvPr/>
        </p:nvSpPr>
        <p:spPr>
          <a:xfrm>
            <a:off x="6636102" y="5627727"/>
            <a:ext cx="2135152" cy="4821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rPr>
              <a:t>Natural Leakage</a:t>
            </a:r>
          </a:p>
          <a:p>
            <a:pPr marL="0" marR="0" lvl="0" indent="0" algn="ctr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(Not Interested)</a:t>
            </a:r>
            <a:endParaRPr kumimoji="0" lang="en-US" sz="52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B10141-61C8-49E6-B925-48C62590BB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4927" y="177113"/>
            <a:ext cx="99387" cy="207749"/>
          </a:xfrm>
        </p:spPr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Bold" charset="0"/>
                <a:ea typeface="ＭＳ Ｐゴシック" charset="0"/>
                <a:cs typeface="Open Sans Bold" charset="0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 charset="0"/>
              <a:ea typeface="ＭＳ Ｐゴシック" charset="0"/>
              <a:cs typeface="Open Sans Bold" charset="0"/>
            </a:endParaRPr>
          </a:p>
        </p:txBody>
      </p:sp>
      <p:sp>
        <p:nvSpPr>
          <p:cNvPr id="8" name="Rectangle: Top Corners One Rounded and One Snipped 7">
            <a:extLst>
              <a:ext uri="{FF2B5EF4-FFF2-40B4-BE49-F238E27FC236}">
                <a16:creationId xmlns:a16="http://schemas.microsoft.com/office/drawing/2014/main" id="{8A4C8849-AF0A-46F5-8D87-833541983160}"/>
              </a:ext>
            </a:extLst>
          </p:cNvPr>
          <p:cNvSpPr/>
          <p:nvPr/>
        </p:nvSpPr>
        <p:spPr>
          <a:xfrm>
            <a:off x="4833257" y="373758"/>
            <a:ext cx="2220686" cy="376436"/>
          </a:xfrm>
          <a:prstGeom prst="snipRoundRect">
            <a:avLst>
              <a:gd name="adj1" fmla="val 39983"/>
              <a:gd name="adj2" fmla="val 40251"/>
            </a:avLst>
          </a:prstGeom>
          <a:solidFill>
            <a:schemeClr val="tx1">
              <a:lumMod val="75000"/>
              <a:lumOff val="2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2921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405362B-329A-482F-949E-E0CA59B9B7EA}"/>
              </a:ext>
            </a:extLst>
          </p:cNvPr>
          <p:cNvGrpSpPr/>
          <p:nvPr/>
        </p:nvGrpSpPr>
        <p:grpSpPr>
          <a:xfrm>
            <a:off x="4732780" y="387038"/>
            <a:ext cx="2351203" cy="751297"/>
            <a:chOff x="9465560" y="768896"/>
            <a:chExt cx="4702405" cy="150777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AEEF3A6-4B1E-40AB-91D6-1F755BF55724}"/>
                </a:ext>
              </a:extLst>
            </p:cNvPr>
            <p:cNvSpPr txBox="1"/>
            <p:nvPr/>
          </p:nvSpPr>
          <p:spPr>
            <a:xfrm>
              <a:off x="9465560" y="768896"/>
              <a:ext cx="4702405" cy="78238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Warm Market</a:t>
              </a:r>
            </a:p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ontact List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0A5C23FE-FD03-4EE8-A221-70D3F159A9A5}"/>
                </a:ext>
              </a:extLst>
            </p:cNvPr>
            <p:cNvCxnSpPr/>
            <p:nvPr/>
          </p:nvCxnSpPr>
          <p:spPr>
            <a:xfrm>
              <a:off x="10319657" y="1774294"/>
              <a:ext cx="0" cy="5023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A59F1685-0C6E-4D1D-B251-B3830D490D98}"/>
                </a:ext>
              </a:extLst>
            </p:cNvPr>
            <p:cNvCxnSpPr/>
            <p:nvPr/>
          </p:nvCxnSpPr>
          <p:spPr>
            <a:xfrm>
              <a:off x="11887199" y="1774291"/>
              <a:ext cx="0" cy="5023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2F76CA5-5AE3-4713-93F1-607C6F2F0963}"/>
              </a:ext>
            </a:extLst>
          </p:cNvPr>
          <p:cNvCxnSpPr/>
          <p:nvPr/>
        </p:nvCxnSpPr>
        <p:spPr>
          <a:xfrm>
            <a:off x="6693159" y="887146"/>
            <a:ext cx="0" cy="2511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C083A89-44AA-41A5-AFCB-CB684B87FAE2}"/>
              </a:ext>
            </a:extLst>
          </p:cNvPr>
          <p:cNvCxnSpPr/>
          <p:nvPr/>
        </p:nvCxnSpPr>
        <p:spPr>
          <a:xfrm flipH="1">
            <a:off x="3321698" y="2401852"/>
            <a:ext cx="8864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2B5AB92-A1D0-43FC-8589-05295C081576}"/>
              </a:ext>
            </a:extLst>
          </p:cNvPr>
          <p:cNvCxnSpPr>
            <a:cxnSpLocks/>
          </p:cNvCxnSpPr>
          <p:nvPr/>
        </p:nvCxnSpPr>
        <p:spPr>
          <a:xfrm flipH="1">
            <a:off x="3321698" y="3429000"/>
            <a:ext cx="15115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B3AEE6E-4D2D-4F0F-ADE6-A892A5660512}"/>
              </a:ext>
            </a:extLst>
          </p:cNvPr>
          <p:cNvCxnSpPr>
            <a:cxnSpLocks/>
          </p:cNvCxnSpPr>
          <p:nvPr/>
        </p:nvCxnSpPr>
        <p:spPr>
          <a:xfrm flipH="1">
            <a:off x="3321698" y="4242318"/>
            <a:ext cx="195476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23F39CD-C576-43B8-BAB6-47EB77B28A75}"/>
              </a:ext>
            </a:extLst>
          </p:cNvPr>
          <p:cNvCxnSpPr>
            <a:cxnSpLocks/>
          </p:cNvCxnSpPr>
          <p:nvPr/>
        </p:nvCxnSpPr>
        <p:spPr>
          <a:xfrm flipH="1">
            <a:off x="3321698" y="5038534"/>
            <a:ext cx="220824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3474385-FB3D-4020-B7C0-F4781B55FCFA}"/>
              </a:ext>
            </a:extLst>
          </p:cNvPr>
          <p:cNvCxnSpPr/>
          <p:nvPr/>
        </p:nvCxnSpPr>
        <p:spPr>
          <a:xfrm>
            <a:off x="5701004" y="5048641"/>
            <a:ext cx="0" cy="92221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D763F90-EED3-41CC-B579-1866201CB53E}"/>
              </a:ext>
            </a:extLst>
          </p:cNvPr>
          <p:cNvGrpSpPr/>
          <p:nvPr/>
        </p:nvGrpSpPr>
        <p:grpSpPr>
          <a:xfrm>
            <a:off x="5727539" y="5038534"/>
            <a:ext cx="989041" cy="799508"/>
            <a:chOff x="11455078" y="10077067"/>
            <a:chExt cx="1978082" cy="1599016"/>
          </a:xfrm>
        </p:grpSpPr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30AD6B41-4ECA-4633-8325-DC89CC82B04E}"/>
                </a:ext>
              </a:extLst>
            </p:cNvPr>
            <p:cNvCxnSpPr>
              <a:cxnSpLocks/>
            </p:cNvCxnSpPr>
            <p:nvPr/>
          </p:nvCxnSpPr>
          <p:spPr>
            <a:xfrm>
              <a:off x="12356841" y="10077067"/>
              <a:ext cx="0" cy="942426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C49384E-9D73-4603-96D2-3BDDFD2825AA}"/>
                </a:ext>
              </a:extLst>
            </p:cNvPr>
            <p:cNvSpPr txBox="1"/>
            <p:nvPr/>
          </p:nvSpPr>
          <p:spPr>
            <a:xfrm>
              <a:off x="11455078" y="11081049"/>
              <a:ext cx="1978082" cy="5950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Referral</a:t>
              </a:r>
              <a:endPara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4252174-61DF-40E4-8B47-3A2E0BBABFB4}"/>
              </a:ext>
            </a:extLst>
          </p:cNvPr>
          <p:cNvGrpSpPr/>
          <p:nvPr/>
        </p:nvGrpSpPr>
        <p:grpSpPr>
          <a:xfrm>
            <a:off x="4044820" y="4731461"/>
            <a:ext cx="1576874" cy="1247240"/>
            <a:chOff x="8089640" y="9462922"/>
            <a:chExt cx="3153747" cy="2494479"/>
          </a:xfrm>
        </p:grpSpPr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7138F495-15AB-424B-B95B-32227FBA9533}"/>
                </a:ext>
              </a:extLst>
            </p:cNvPr>
            <p:cNvSpPr/>
            <p:nvPr/>
          </p:nvSpPr>
          <p:spPr>
            <a:xfrm>
              <a:off x="8089640" y="9462922"/>
              <a:ext cx="3153747" cy="2051124"/>
            </a:xfrm>
            <a:prstGeom prst="arc">
              <a:avLst>
                <a:gd name="adj1" fmla="val 20696060"/>
                <a:gd name="adj2" fmla="val 3714004"/>
              </a:avLst>
            </a:prstGeom>
            <a:noFill/>
            <a:ln w="25400" cap="flat">
              <a:solidFill>
                <a:srgbClr val="000000"/>
              </a:solidFill>
              <a:prstDash val="solid"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20" tIns="22860" rIns="45720" bIns="22860" numCol="1" spcCol="38100" rtlCol="0" anchor="t">
              <a:noAutofit/>
            </a:bodyPr>
            <a:lstStyle/>
            <a:p>
              <a:pPr marL="0" marR="0" lvl="0" indent="0" algn="l" defTabSz="4572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6DF58AF-2E13-4B75-91D0-78C568FE06E3}"/>
                </a:ext>
              </a:extLst>
            </p:cNvPr>
            <p:cNvSpPr txBox="1"/>
            <p:nvPr/>
          </p:nvSpPr>
          <p:spPr>
            <a:xfrm>
              <a:off x="8370738" y="11362367"/>
              <a:ext cx="2446749" cy="5950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Customer</a:t>
              </a:r>
              <a:endPara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8DCF8B2-3BA0-46D4-BDC9-58E0F2B9DE08}"/>
              </a:ext>
            </a:extLst>
          </p:cNvPr>
          <p:cNvGrpSpPr/>
          <p:nvPr/>
        </p:nvGrpSpPr>
        <p:grpSpPr>
          <a:xfrm>
            <a:off x="1465101" y="3230366"/>
            <a:ext cx="1576874" cy="397272"/>
            <a:chOff x="2930202" y="6460729"/>
            <a:chExt cx="3153747" cy="794542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9A8AC96-F2E6-4C78-BA08-3732AD3BB6F8}"/>
                </a:ext>
              </a:extLst>
            </p:cNvPr>
            <p:cNvSpPr/>
            <p:nvPr/>
          </p:nvSpPr>
          <p:spPr>
            <a:xfrm>
              <a:off x="2930202" y="6460729"/>
              <a:ext cx="3153747" cy="794542"/>
            </a:xfrm>
            <a:prstGeom prst="roundRect">
              <a:avLst/>
            </a:prstGeom>
            <a:grpFill/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2921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A09FC28-1A99-4B12-9559-1AEBD9F9EE02}"/>
                </a:ext>
              </a:extLst>
            </p:cNvPr>
            <p:cNvSpPr txBox="1"/>
            <p:nvPr/>
          </p:nvSpPr>
          <p:spPr>
            <a:xfrm>
              <a:off x="3228780" y="6549915"/>
              <a:ext cx="2556587" cy="656588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Leak Point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84AD257-BEE2-48CA-B0CB-E4AF1BAB7B55}"/>
              </a:ext>
            </a:extLst>
          </p:cNvPr>
          <p:cNvGrpSpPr/>
          <p:nvPr/>
        </p:nvGrpSpPr>
        <p:grpSpPr>
          <a:xfrm>
            <a:off x="1465101" y="4126494"/>
            <a:ext cx="1576874" cy="397272"/>
            <a:chOff x="2930202" y="8252986"/>
            <a:chExt cx="3153747" cy="794542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B6B6C5F-A334-4093-977A-671ED518F25F}"/>
                </a:ext>
              </a:extLst>
            </p:cNvPr>
            <p:cNvSpPr/>
            <p:nvPr/>
          </p:nvSpPr>
          <p:spPr>
            <a:xfrm>
              <a:off x="2930202" y="8252986"/>
              <a:ext cx="3153747" cy="794542"/>
            </a:xfrm>
            <a:prstGeom prst="roundRect">
              <a:avLst/>
            </a:prstGeom>
            <a:grpFill/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2921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347CBE8-7967-47F8-B89F-BA2B123B878A}"/>
                </a:ext>
              </a:extLst>
            </p:cNvPr>
            <p:cNvSpPr txBox="1"/>
            <p:nvPr/>
          </p:nvSpPr>
          <p:spPr>
            <a:xfrm>
              <a:off x="3253694" y="8300580"/>
              <a:ext cx="2556587" cy="656588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Leak Point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B16B95A-4757-4DAC-8BD7-A933A753B5BF}"/>
              </a:ext>
            </a:extLst>
          </p:cNvPr>
          <p:cNvGrpSpPr/>
          <p:nvPr/>
        </p:nvGrpSpPr>
        <p:grpSpPr>
          <a:xfrm>
            <a:off x="1465101" y="4994707"/>
            <a:ext cx="1576874" cy="425184"/>
            <a:chOff x="2930201" y="9989419"/>
            <a:chExt cx="3153747" cy="850367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E31DC20E-3E07-4CF9-96F2-2A87189674D3}"/>
                </a:ext>
              </a:extLst>
            </p:cNvPr>
            <p:cNvSpPr/>
            <p:nvPr/>
          </p:nvSpPr>
          <p:spPr>
            <a:xfrm>
              <a:off x="2930201" y="10045243"/>
              <a:ext cx="3153747" cy="794543"/>
            </a:xfrm>
            <a:prstGeom prst="roundRect">
              <a:avLst/>
            </a:prstGeom>
            <a:grpFill/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29210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AD2ED2D-2510-401A-9986-B932C11F4780}"/>
                </a:ext>
              </a:extLst>
            </p:cNvPr>
            <p:cNvSpPr txBox="1"/>
            <p:nvPr/>
          </p:nvSpPr>
          <p:spPr>
            <a:xfrm>
              <a:off x="3228781" y="9989419"/>
              <a:ext cx="2556587" cy="65658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marL="0" marR="0" lvl="0" indent="0" algn="ctr" defTabSz="412750" rtl="0" eaLnBrk="1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  <a:sym typeface="Gill Sans"/>
                </a:rPr>
                <a:t>Leak Point</a:t>
              </a:r>
            </a:p>
          </p:txBody>
        </p:sp>
      </p:grpSp>
      <p:sp>
        <p:nvSpPr>
          <p:cNvPr id="60" name="Shape 18">
            <a:extLst>
              <a:ext uri="{FF2B5EF4-FFF2-40B4-BE49-F238E27FC236}">
                <a16:creationId xmlns:a16="http://schemas.microsoft.com/office/drawing/2014/main" id="{99B848E5-0B5A-41A6-9A24-2D7CE0549318}"/>
              </a:ext>
            </a:extLst>
          </p:cNvPr>
          <p:cNvSpPr/>
          <p:nvPr/>
        </p:nvSpPr>
        <p:spPr>
          <a:xfrm>
            <a:off x="210893" y="198841"/>
            <a:ext cx="4912710" cy="15901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p159="http://schemas.microsoft.com/office/powerpoint/2015/09/main" xmlns:p15="http://schemas.microsoft.com/office/powerpoint/2012/main" xmlns:p14="http://schemas.microsoft.com/office/powerpoint/2010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>
              <a:defRPr sz="7200">
                <a:solidFill>
                  <a:srgbClr val="42A3E8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lvl1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Lato" panose="020F0502020204030203" pitchFamily="34" charset="0"/>
                <a:sym typeface="Montserrat-Bold"/>
              </a:rPr>
              <a:t>FOLLOW UP FUNNEL</a:t>
            </a: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endParaRPr kumimoji="0" lang="en-US" sz="3600" b="1" i="0" u="none" strike="noStrike" kern="1200" cap="none" spc="300" normalizeH="0" baseline="0" noProof="0" dirty="0">
              <a:ln>
                <a:noFill/>
              </a:ln>
              <a:solidFill>
                <a:srgbClr val="00CC00"/>
              </a:solidFill>
              <a:effectLst/>
              <a:uLnTx/>
              <a:uFillTx/>
              <a:latin typeface="Lato" panose="020F0502020204030203" pitchFamily="34" charset="0"/>
              <a:sym typeface="Montserrat-Bold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endParaRPr kumimoji="0" sz="3600" b="1" i="0" u="none" strike="noStrike" kern="1200" cap="none" spc="300" normalizeH="0" baseline="0" noProof="0" dirty="0">
              <a:ln>
                <a:noFill/>
              </a:ln>
              <a:solidFill>
                <a:srgbClr val="00CC00"/>
              </a:solidFill>
              <a:effectLst/>
              <a:uLnTx/>
              <a:uFillTx/>
              <a:latin typeface="Lato" panose="020F0502020204030203" pitchFamily="34" charset="0"/>
              <a:sym typeface="Montserrat-Bold"/>
            </a:endParaRPr>
          </a:p>
        </p:txBody>
      </p:sp>
      <p:sp>
        <p:nvSpPr>
          <p:cNvPr id="61" name="Flowchart: Alternate Process 60">
            <a:extLst>
              <a:ext uri="{FF2B5EF4-FFF2-40B4-BE49-F238E27FC236}">
                <a16:creationId xmlns:a16="http://schemas.microsoft.com/office/drawing/2014/main" id="{8CFD7C3F-67AF-40FA-ADCF-469E09A24F97}"/>
              </a:ext>
            </a:extLst>
          </p:cNvPr>
          <p:cNvSpPr/>
          <p:nvPr/>
        </p:nvSpPr>
        <p:spPr>
          <a:xfrm>
            <a:off x="7983896" y="3232466"/>
            <a:ext cx="4052595" cy="397272"/>
          </a:xfrm>
          <a:prstGeom prst="flowChartAlternateProcess">
            <a:avLst/>
          </a:prstGeom>
          <a:solidFill>
            <a:schemeClr val="tx1">
              <a:lumMod val="75000"/>
              <a:lumOff val="2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2921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81E811E-E7D5-4569-A623-35ACD95FE3B6}"/>
              </a:ext>
            </a:extLst>
          </p:cNvPr>
          <p:cNvSpPr txBox="1"/>
          <p:nvPr/>
        </p:nvSpPr>
        <p:spPr>
          <a:xfrm>
            <a:off x="8092755" y="2652500"/>
            <a:ext cx="3903305" cy="155940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l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rPr>
              <a:t>If you input warm market contacts list through  the funnel properly by correctly Executing the</a:t>
            </a:r>
          </a:p>
          <a:p>
            <a:pPr marL="0" marR="0" lvl="0" indent="0" algn="l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nvitation | Presentation  |  Close  | Follow up</a:t>
            </a:r>
          </a:p>
          <a:p>
            <a:pPr marL="0" marR="0" lvl="0" indent="0" algn="l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  <a:sym typeface="Gill Sans"/>
              </a:rPr>
              <a:t>If your results are not what you expect you will be the funnel and make th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corrections quickl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8090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D6A99249-594F-4D89-820E-8B1DD4722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256" y="356681"/>
            <a:ext cx="7266432" cy="6501319"/>
          </a:xfrm>
          <a:prstGeom prst="rect">
            <a:avLst/>
          </a:prstGeom>
        </p:spPr>
      </p:pic>
      <p:sp>
        <p:nvSpPr>
          <p:cNvPr id="7" name="Shape 18">
            <a:extLst>
              <a:ext uri="{FF2B5EF4-FFF2-40B4-BE49-F238E27FC236}">
                <a16:creationId xmlns:a16="http://schemas.microsoft.com/office/drawing/2014/main" id="{BCB69084-DA90-4995-8D42-F59088A82B57}"/>
              </a:ext>
            </a:extLst>
          </p:cNvPr>
          <p:cNvSpPr/>
          <p:nvPr/>
        </p:nvSpPr>
        <p:spPr>
          <a:xfrm>
            <a:off x="2048256" y="122384"/>
            <a:ext cx="7748833" cy="20210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wrap="square" lIns="25400" tIns="25400" rIns="25400" bIns="25400" numCol="1" anchor="ctr">
            <a:spAutoFit/>
          </a:bodyPr>
          <a:lstStyle>
            <a:lvl1pPr>
              <a:defRPr sz="7200">
                <a:solidFill>
                  <a:srgbClr val="42A3E8"/>
                </a:solidFill>
                <a:latin typeface="Montserrat-Bold"/>
                <a:ea typeface="Montserrat-Bold"/>
                <a:cs typeface="Montserrat-Bold"/>
                <a:sym typeface="Montserrat-Bold"/>
              </a:defRPr>
            </a:lvl1pPr>
          </a:lstStyle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Lato" panose="020F0502020204030203" pitchFamily="34" charset="0"/>
                <a:sym typeface="Montserrat-Bold"/>
              </a:rPr>
              <a:t>AS A PROFESSIONAL YOU HAVE THREE POSSIBLE OUTCOMES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endParaRPr kumimoji="0" lang="en-US" sz="3600" b="1" i="0" u="none" strike="noStrike" kern="1200" cap="none" spc="300" normalizeH="0" baseline="0" noProof="0" dirty="0">
              <a:ln>
                <a:noFill/>
              </a:ln>
              <a:solidFill>
                <a:srgbClr val="00CC00"/>
              </a:solidFill>
              <a:effectLst/>
              <a:uLnTx/>
              <a:uFillTx/>
              <a:latin typeface="Lato" panose="020F0502020204030203" pitchFamily="34" charset="0"/>
              <a:sym typeface="Montserrat-Bold"/>
            </a:endParaRP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endParaRPr kumimoji="0" sz="3600" b="1" i="0" u="none" strike="noStrike" kern="1200" cap="none" spc="300" normalizeH="0" baseline="0" noProof="0" dirty="0">
              <a:ln>
                <a:noFill/>
              </a:ln>
              <a:solidFill>
                <a:srgbClr val="00CC00"/>
              </a:solidFill>
              <a:effectLst/>
              <a:uLnTx/>
              <a:uFillTx/>
              <a:latin typeface="Lato" panose="020F0502020204030203" pitchFamily="34" charset="0"/>
              <a:sym typeface="Montserrat-Bold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E452FE-EE16-48D3-A278-41452A03FDD4}"/>
              </a:ext>
            </a:extLst>
          </p:cNvPr>
          <p:cNvSpPr txBox="1"/>
          <p:nvPr/>
        </p:nvSpPr>
        <p:spPr>
          <a:xfrm>
            <a:off x="509047" y="2317792"/>
            <a:ext cx="260179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F3F4A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BECOME BUSINESS PART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A118E3-98E6-455F-B4E7-103C383DD6DF}"/>
              </a:ext>
            </a:extLst>
          </p:cNvPr>
          <p:cNvSpPr txBox="1"/>
          <p:nvPr/>
        </p:nvSpPr>
        <p:spPr>
          <a:xfrm>
            <a:off x="3035430" y="1310312"/>
            <a:ext cx="3642392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BECOME YOUR TRAVEL CLI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00390DE-B37B-4AB2-8D13-B416DB3C8B3D}"/>
              </a:ext>
            </a:extLst>
          </p:cNvPr>
          <p:cNvSpPr txBox="1"/>
          <p:nvPr/>
        </p:nvSpPr>
        <p:spPr>
          <a:xfrm>
            <a:off x="7853628" y="2203340"/>
            <a:ext cx="354755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RECEIVE QUALIFIED REFFERA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2EECBC-2E9D-4AE4-ADA0-CC0EFF2B29F4}"/>
              </a:ext>
            </a:extLst>
          </p:cNvPr>
          <p:cNvSpPr txBox="1"/>
          <p:nvPr/>
        </p:nvSpPr>
        <p:spPr>
          <a:xfrm>
            <a:off x="1187777" y="6115278"/>
            <a:ext cx="9238268" cy="65659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LEAD WITH THE BUSINESS, MISS WITH THE SALE</a:t>
            </a:r>
          </a:p>
        </p:txBody>
      </p:sp>
    </p:spTree>
    <p:extLst>
      <p:ext uri="{BB962C8B-B14F-4D97-AF65-F5344CB8AC3E}">
        <p14:creationId xmlns:p14="http://schemas.microsoft.com/office/powerpoint/2010/main" val="202698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FDB5AE-34FA-4E6C-A672-393A78256E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91109" y="177113"/>
            <a:ext cx="99387" cy="207749"/>
          </a:xfrm>
        </p:spPr>
        <p:txBody>
          <a:bodyPr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Bold" charset="0"/>
                <a:ea typeface="ＭＳ Ｐゴシック" charset="0"/>
                <a:cs typeface="Open Sans Bold" charset="0"/>
                <a:sym typeface="Gill Sans"/>
              </a:rPr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 charset="0"/>
              <a:ea typeface="ＭＳ Ｐゴシック" charset="0"/>
              <a:cs typeface="Open Sans Bold" charset="0"/>
              <a:sym typeface="Gill Sans"/>
            </a:endParaRPr>
          </a:p>
        </p:txBody>
      </p:sp>
      <p:sp>
        <p:nvSpPr>
          <p:cNvPr id="5" name="Shape 29">
            <a:extLst>
              <a:ext uri="{FF2B5EF4-FFF2-40B4-BE49-F238E27FC236}">
                <a16:creationId xmlns:a16="http://schemas.microsoft.com/office/drawing/2014/main" id="{2E75C2B0-3758-422E-9B52-2247233394D9}"/>
              </a:ext>
            </a:extLst>
          </p:cNvPr>
          <p:cNvSpPr/>
          <p:nvPr/>
        </p:nvSpPr>
        <p:spPr>
          <a:xfrm>
            <a:off x="320069" y="736203"/>
            <a:ext cx="10742079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700">
                <a:solidFill>
                  <a:srgbClr val="748A9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KEY TO A SUCCESSFUL CLO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A1BA21-1BFD-4059-8444-924DF08B56D2}"/>
              </a:ext>
            </a:extLst>
          </p:cNvPr>
          <p:cNvSpPr/>
          <p:nvPr/>
        </p:nvSpPr>
        <p:spPr>
          <a:xfrm>
            <a:off x="7370627" y="2482587"/>
            <a:ext cx="390569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POSTURE UP!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linecons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YOUR WORDS WILL BREED CONFIDENCE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linecons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NO DOUBT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linecons"/>
              <a:sym typeface="linecons"/>
            </a:endParaRPr>
          </a:p>
        </p:txBody>
      </p:sp>
      <p:pic>
        <p:nvPicPr>
          <p:cNvPr id="1028" name="Picture 4" descr="Image result for group of professionals walking">
            <a:extLst>
              <a:ext uri="{FF2B5EF4-FFF2-40B4-BE49-F238E27FC236}">
                <a16:creationId xmlns:a16="http://schemas.microsoft.com/office/drawing/2014/main" id="{1E968146-4627-402D-9ABB-24A226B1A055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9" b="12079"/>
          <a:stretch>
            <a:fillRect/>
          </a:stretch>
        </p:blipFill>
        <p:spPr bwMode="auto">
          <a:xfrm>
            <a:off x="503853" y="1962390"/>
            <a:ext cx="6705600" cy="365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8AD85A1-82FE-4AA8-88C7-562D6ED16AB0}"/>
              </a:ext>
            </a:extLst>
          </p:cNvPr>
          <p:cNvSpPr txBox="1"/>
          <p:nvPr/>
        </p:nvSpPr>
        <p:spPr>
          <a:xfrm>
            <a:off x="3120272" y="5931395"/>
            <a:ext cx="4628561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1% doubt and you are out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linecons"/>
              <a:sym typeface="linecons"/>
            </a:endParaRPr>
          </a:p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+mn-ea"/>
              <a:cs typeface="+mn-cs"/>
              <a:sym typeface="Gill San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0E90CE7-36A4-4021-A7BF-6BFFD8D67AE4}"/>
              </a:ext>
            </a:extLst>
          </p:cNvPr>
          <p:cNvSpPr txBox="1"/>
          <p:nvPr/>
        </p:nvSpPr>
        <p:spPr>
          <a:xfrm>
            <a:off x="2762344" y="1172712"/>
            <a:ext cx="5956916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/>
                <a:ea typeface="+mn-ea"/>
                <a:cs typeface="+mn-cs"/>
                <a:sym typeface="Gill Sans"/>
              </a:rPr>
              <a:t>Getting them to enroll as your business partner</a:t>
            </a:r>
          </a:p>
        </p:txBody>
      </p:sp>
    </p:spTree>
    <p:extLst>
      <p:ext uri="{BB962C8B-B14F-4D97-AF65-F5344CB8AC3E}">
        <p14:creationId xmlns:p14="http://schemas.microsoft.com/office/powerpoint/2010/main" val="112364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0E63F1F-7A82-49C2-8BCB-FF6260834FD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03534" y="-845128"/>
            <a:ext cx="581917" cy="344274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FDB5AE-34FA-4E6C-A672-393A78256E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91109" y="177113"/>
            <a:ext cx="99387" cy="207749"/>
          </a:xfrm>
        </p:spPr>
        <p:txBody>
          <a:bodyPr/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0360BF-F590-44C3-913D-DB7AFB9E57F8}" type="slidenum">
              <a:rPr kumimoji="0" lang="en-US" sz="13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Bold" charset="0"/>
                <a:ea typeface="ＭＳ Ｐゴシック" charset="0"/>
                <a:cs typeface="Open Sans Bold" charset="0"/>
                <a:sym typeface="Gill Sans"/>
              </a:rPr>
              <a:pPr marL="0" marR="0" lvl="0" indent="0" algn="ctr" defTabSz="4127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Bold" charset="0"/>
              <a:ea typeface="ＭＳ Ｐゴシック" charset="0"/>
              <a:cs typeface="Open Sans Bold" charset="0"/>
              <a:sym typeface="Gill Sans"/>
            </a:endParaRPr>
          </a:p>
        </p:txBody>
      </p:sp>
      <p:sp>
        <p:nvSpPr>
          <p:cNvPr id="5" name="Shape 29">
            <a:extLst>
              <a:ext uri="{FF2B5EF4-FFF2-40B4-BE49-F238E27FC236}">
                <a16:creationId xmlns:a16="http://schemas.microsoft.com/office/drawing/2014/main" id="{2E75C2B0-3758-422E-9B52-2247233394D9}"/>
              </a:ext>
            </a:extLst>
          </p:cNvPr>
          <p:cNvSpPr/>
          <p:nvPr/>
        </p:nvSpPr>
        <p:spPr>
          <a:xfrm>
            <a:off x="1449921" y="513480"/>
            <a:ext cx="10742079" cy="5129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>
              <a:defRPr sz="2700">
                <a:solidFill>
                  <a:srgbClr val="748A9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000000"/>
                </a:solidFill>
              </a:defRPr>
            </a:pPr>
            <a:r>
              <a:rPr kumimoji="0" lang="en-US" sz="3000" b="1" i="0" u="none" strike="noStrike" kern="0" cap="none" spc="0" normalizeH="0" baseline="0" noProof="0" dirty="0">
                <a:ln>
                  <a:noFill/>
                </a:ln>
                <a:solidFill>
                  <a:srgbClr val="38C3C6"/>
                </a:solidFill>
                <a:effectLst/>
                <a:uLnTx/>
                <a:uFillTx/>
                <a:latin typeface="Lato" panose="020F0502020204030203" pitchFamily="34" charset="0"/>
                <a:ea typeface="Open Sans"/>
                <a:cs typeface="Open Sans"/>
                <a:sym typeface="Open Sans"/>
              </a:rPr>
              <a:t>REMEMBER THE GOA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A1BA21-1BFD-4059-8444-924DF08B56D2}"/>
              </a:ext>
            </a:extLst>
          </p:cNvPr>
          <p:cNvSpPr/>
          <p:nvPr/>
        </p:nvSpPr>
        <p:spPr>
          <a:xfrm>
            <a:off x="658614" y="2145341"/>
            <a:ext cx="558528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Stop trying to 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GET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 people…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Instead, pursue the goal.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linecons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Our goal is to 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EDUCATE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 and 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help them 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to UNDERSTAND.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505050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  <a:sym typeface="linecons"/>
            </a:endParaRP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And find out if they are</a:t>
            </a:r>
          </a:p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 a 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YES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 or a 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NO</a:t>
            </a:r>
            <a:r>
              <a:rPr kumimoji="0" lang="en-US" sz="2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  <a:sym typeface="linecons"/>
              </a:rPr>
              <a:t>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D0793D-6E1A-407B-BD89-7DCAED0A71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982" y="2040775"/>
            <a:ext cx="3474720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79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5CFC35A2-9D78-4E65-A5D0-F0C9B5EF2EE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0890" y="0"/>
            <a:ext cx="14160759" cy="944050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857DCE5-2634-43D9-8C36-016102BE2EF7}"/>
              </a:ext>
            </a:extLst>
          </p:cNvPr>
          <p:cNvSpPr txBox="1"/>
          <p:nvPr/>
        </p:nvSpPr>
        <p:spPr>
          <a:xfrm>
            <a:off x="5121035" y="84397"/>
            <a:ext cx="57584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Edwardian Script ITC" panose="030303020407070D0804" pitchFamily="66" charset="0"/>
                <a:ea typeface="+mn-ea"/>
                <a:cs typeface="+mn-cs"/>
                <a:sym typeface="Gill Sans"/>
              </a:rPr>
              <a:t>Welcome / Three-way Ca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C691C0-14CB-4FED-A763-665CF7BA22B2}"/>
              </a:ext>
            </a:extLst>
          </p:cNvPr>
          <p:cNvSpPr txBox="1"/>
          <p:nvPr/>
        </p:nvSpPr>
        <p:spPr>
          <a:xfrm>
            <a:off x="5121035" y="645848"/>
            <a:ext cx="60383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Determine the purpose for the call</a:t>
            </a:r>
          </a:p>
          <a:p>
            <a:pPr marL="0" marR="0" lvl="0" indent="0" algn="ctr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ill San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5FFC5FB-2856-48B3-8FED-0B28EECF9454}"/>
              </a:ext>
            </a:extLst>
          </p:cNvPr>
          <p:cNvSpPr txBox="1"/>
          <p:nvPr/>
        </p:nvSpPr>
        <p:spPr>
          <a:xfrm>
            <a:off x="5774094" y="1486565"/>
            <a:ext cx="6417906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 Invite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– you can use an expert to share their story and invite prospect to event.</a:t>
            </a: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 Close-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Use your expert after a presentation is done to get questions answered and create urgency in signing up on the spot.</a:t>
            </a: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 Move Along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– Your expert can take a prospect who is not ready to decide and invite them to another event.</a:t>
            </a: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 Promotion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– Your upline can be used to convince your downline to do something.  (Host their PBR, Attend convention, Get on a team zoom or conference call.)</a:t>
            </a: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  <a:sym typeface="Gill Sans"/>
            </a:endParaRPr>
          </a:p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 Welcome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– The prospect has just joined, give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them an introduction to their support team and to reinforce their great  decision.</a:t>
            </a:r>
          </a:p>
        </p:txBody>
      </p:sp>
    </p:spTree>
    <p:extLst>
      <p:ext uri="{BB962C8B-B14F-4D97-AF65-F5344CB8AC3E}">
        <p14:creationId xmlns:p14="http://schemas.microsoft.com/office/powerpoint/2010/main" val="1920184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VXIwmPkaNEw56OuLEH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SH-Blue">
      <a:dk1>
        <a:srgbClr val="2F3F4A"/>
      </a:dk1>
      <a:lt1>
        <a:srgbClr val="FFFFFF"/>
      </a:lt1>
      <a:dk2>
        <a:srgbClr val="2F3F4A"/>
      </a:dk2>
      <a:lt2>
        <a:srgbClr val="D8DADB"/>
      </a:lt2>
      <a:accent1>
        <a:srgbClr val="5DABE2"/>
      </a:accent1>
      <a:accent2>
        <a:srgbClr val="368FE2"/>
      </a:accent2>
      <a:accent3>
        <a:srgbClr val="2D67BE"/>
      </a:accent3>
      <a:accent4>
        <a:srgbClr val="1A3A7C"/>
      </a:accent4>
      <a:accent5>
        <a:srgbClr val="505050"/>
      </a:accent5>
      <a:accent6>
        <a:srgbClr val="809295"/>
      </a:accent6>
      <a:hlink>
        <a:srgbClr val="368FE2"/>
      </a:hlink>
      <a:folHlink>
        <a:srgbClr val="7CB349"/>
      </a:folHlink>
    </a:clrScheme>
    <a:fontScheme name="White">
      <a:majorFont>
        <a:latin typeface="Gill Sans"/>
        <a:ea typeface="Gill Sans"/>
        <a:cs typeface="Gill Sans"/>
      </a:majorFont>
      <a:minorFont>
        <a:latin typeface="Gill Sans"/>
        <a:ea typeface="Gill Sans"/>
        <a:cs typeface="Gill Sans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Custom 4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1B7E2"/>
      </a:accent1>
      <a:accent2>
        <a:srgbClr val="40BBB1"/>
      </a:accent2>
      <a:accent3>
        <a:srgbClr val="D486A8"/>
      </a:accent3>
      <a:accent4>
        <a:srgbClr val="9795CD"/>
      </a:accent4>
      <a:accent5>
        <a:srgbClr val="00B0F0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1099</Words>
  <Application>Microsoft Macintosh PowerPoint</Application>
  <PresentationFormat>Widescreen</PresentationFormat>
  <Paragraphs>178</Paragraphs>
  <Slides>18</Slides>
  <Notes>0</Notes>
  <HiddenSlides>1</HiddenSlides>
  <MMClips>0</MMClips>
  <ScaleCrop>false</ScaleCrop>
  <HeadingPairs>
    <vt:vector size="6" baseType="variant">
      <vt:variant>
        <vt:lpstr>Fonts Used</vt:lpstr>
      </vt:variant>
      <vt:variant>
        <vt:i4>25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8</vt:i4>
      </vt:variant>
    </vt:vector>
  </HeadingPairs>
  <TitlesOfParts>
    <vt:vector size="47" baseType="lpstr">
      <vt:lpstr>Arial</vt:lpstr>
      <vt:lpstr>Bebas</vt:lpstr>
      <vt:lpstr>Bebas Neue Regular</vt:lpstr>
      <vt:lpstr>Calibri</vt:lpstr>
      <vt:lpstr>Calibri Light</vt:lpstr>
      <vt:lpstr>Edwardian Script ITC</vt:lpstr>
      <vt:lpstr>Gill Sans</vt:lpstr>
      <vt:lpstr>Helvetica</vt:lpstr>
      <vt:lpstr>Helvetica Light</vt:lpstr>
      <vt:lpstr>Lato</vt:lpstr>
      <vt:lpstr>linecons</vt:lpstr>
      <vt:lpstr>Montserrat-Bold</vt:lpstr>
      <vt:lpstr>Montserrat-Regular</vt:lpstr>
      <vt:lpstr>Nevis</vt:lpstr>
      <vt:lpstr>Open Sans</vt:lpstr>
      <vt:lpstr>Open Sans Bold</vt:lpstr>
      <vt:lpstr>Open Sans Light</vt:lpstr>
      <vt:lpstr>Roboto Light</vt:lpstr>
      <vt:lpstr>Segoe UI</vt:lpstr>
      <vt:lpstr>Trebuchet MS</vt:lpstr>
      <vt:lpstr>Tw Cen MT</vt:lpstr>
      <vt:lpstr>Tw Cen MT Condensed</vt:lpstr>
      <vt:lpstr>Ubuntu</vt:lpstr>
      <vt:lpstr>Wingdings</vt:lpstr>
      <vt:lpstr>Wingdings 3</vt:lpstr>
      <vt:lpstr>Office Theme</vt:lpstr>
      <vt:lpstr>White</vt:lpstr>
      <vt:lpstr>2_Office Theme</vt:lpstr>
      <vt:lpstr>Integral</vt:lpstr>
      <vt:lpstr>PowerPoint Presentation</vt:lpstr>
      <vt:lpstr>PowerPoint Presentation</vt:lpstr>
      <vt:lpstr>PowerPoint Presentation</vt:lpstr>
      <vt:lpstr>PREVIOUS SKILLS WE HAVE DISCUSSE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drick White</dc:creator>
  <cp:lastModifiedBy>john Early</cp:lastModifiedBy>
  <cp:revision>3</cp:revision>
  <dcterms:created xsi:type="dcterms:W3CDTF">2023-05-15T17:09:04Z</dcterms:created>
  <dcterms:modified xsi:type="dcterms:W3CDTF">2023-06-13T14:07:36Z</dcterms:modified>
</cp:coreProperties>
</file>